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1"/>
    <p:sldMasterId id="2147483700" r:id="rId2"/>
    <p:sldMasterId id="2147483705" r:id="rId3"/>
  </p:sldMasterIdLst>
  <p:notesMasterIdLst>
    <p:notesMasterId r:id="rId22"/>
  </p:notesMasterIdLst>
  <p:handoutMasterIdLst>
    <p:handoutMasterId r:id="rId23"/>
  </p:handoutMasterIdLst>
  <p:sldIdLst>
    <p:sldId id="427" r:id="rId4"/>
    <p:sldId id="428" r:id="rId5"/>
    <p:sldId id="429" r:id="rId6"/>
    <p:sldId id="430" r:id="rId7"/>
    <p:sldId id="432" r:id="rId8"/>
    <p:sldId id="431" r:id="rId9"/>
    <p:sldId id="436" r:id="rId10"/>
    <p:sldId id="433" r:id="rId11"/>
    <p:sldId id="435" r:id="rId12"/>
    <p:sldId id="434" r:id="rId13"/>
    <p:sldId id="437" r:id="rId14"/>
    <p:sldId id="438" r:id="rId15"/>
    <p:sldId id="439" r:id="rId16"/>
    <p:sldId id="440" r:id="rId17"/>
    <p:sldId id="441" r:id="rId18"/>
    <p:sldId id="445" r:id="rId19"/>
    <p:sldId id="446" r:id="rId20"/>
    <p:sldId id="426" r:id="rId21"/>
  </p:sldIdLst>
  <p:sldSz cx="9144000" cy="6858000" type="screen4x3"/>
  <p:notesSz cx="6797675" cy="9926638"/>
  <p:defaultTextStyle>
    <a:defPPr>
      <a:defRPr lang="nl-NL"/>
    </a:defPPr>
    <a:lvl1pPr algn="l" rtl="0" fontAlgn="base">
      <a:spcBef>
        <a:spcPct val="0"/>
      </a:spcBef>
      <a:spcAft>
        <a:spcPct val="0"/>
      </a:spcAft>
      <a:defRPr kern="1200">
        <a:solidFill>
          <a:srgbClr val="000065"/>
        </a:solidFill>
        <a:latin typeface="Arial Narrow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rgbClr val="000065"/>
        </a:solidFill>
        <a:latin typeface="Arial Narrow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rgbClr val="000065"/>
        </a:solidFill>
        <a:latin typeface="Arial Narrow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rgbClr val="000065"/>
        </a:solidFill>
        <a:latin typeface="Arial Narrow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rgbClr val="000065"/>
        </a:solidFill>
        <a:latin typeface="Arial Narrow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rgbClr val="000065"/>
        </a:solidFill>
        <a:latin typeface="Arial Narrow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rgbClr val="000065"/>
        </a:solidFill>
        <a:latin typeface="Arial Narrow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rgbClr val="000065"/>
        </a:solidFill>
        <a:latin typeface="Arial Narrow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rgbClr val="000065"/>
        </a:solidFill>
        <a:latin typeface="Arial Narrow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AA33"/>
    <a:srgbClr val="1D3175"/>
    <a:srgbClr val="91C33F"/>
    <a:srgbClr val="339933"/>
    <a:srgbClr val="000065"/>
    <a:srgbClr val="F09304"/>
    <a:srgbClr val="D1F0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7" autoAdjust="0"/>
    <p:restoredTop sz="95401" autoAdjust="0"/>
  </p:normalViewPr>
  <p:slideViewPr>
    <p:cSldViewPr>
      <p:cViewPr>
        <p:scale>
          <a:sx n="95" d="100"/>
          <a:sy n="95" d="100"/>
        </p:scale>
        <p:origin x="-1140" y="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850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-227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C98FA47-DDCD-4542-894C-2F0B57F07586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744B7E2E-D465-4A41-94B6-2BA010E4F34A}">
      <dgm:prSet phldrT="[Tekst]"/>
      <dgm:spPr>
        <a:solidFill>
          <a:schemeClr val="accent2"/>
        </a:solidFill>
      </dgm:spPr>
      <dgm:t>
        <a:bodyPr/>
        <a:lstStyle/>
        <a:p>
          <a:r>
            <a:rPr lang="nl-NL" dirty="0">
              <a:solidFill>
                <a:srgbClr val="002060"/>
              </a:solidFill>
              <a:latin typeface="Cambria" panose="02040503050406030204" pitchFamily="18" charset="0"/>
            </a:rPr>
            <a:t>Parkinson Patiënt</a:t>
          </a:r>
        </a:p>
      </dgm:t>
    </dgm:pt>
    <dgm:pt modelId="{3FF585B5-15F4-4413-A36C-C62BB11FA7DC}" type="parTrans" cxnId="{A949D0F4-BF89-4B45-A6D4-FE2F540E41A7}">
      <dgm:prSet/>
      <dgm:spPr/>
      <dgm:t>
        <a:bodyPr/>
        <a:lstStyle/>
        <a:p>
          <a:endParaRPr lang="nl-NL"/>
        </a:p>
      </dgm:t>
    </dgm:pt>
    <dgm:pt modelId="{3B8BF0C8-FCFD-4134-A7BC-C1454AD6AE01}" type="sibTrans" cxnId="{A949D0F4-BF89-4B45-A6D4-FE2F540E41A7}">
      <dgm:prSet/>
      <dgm:spPr>
        <a:solidFill>
          <a:srgbClr val="000065"/>
        </a:solidFill>
      </dgm:spPr>
      <dgm:t>
        <a:bodyPr/>
        <a:lstStyle/>
        <a:p>
          <a:endParaRPr lang="nl-NL" dirty="0"/>
        </a:p>
      </dgm:t>
    </dgm:pt>
    <dgm:pt modelId="{6EDC0D36-B161-4487-AB05-E81DD2BCF3DF}">
      <dgm:prSet phldrT="[Tekst]"/>
      <dgm:spPr>
        <a:solidFill>
          <a:schemeClr val="accent2"/>
        </a:solidFill>
      </dgm:spPr>
      <dgm:t>
        <a:bodyPr/>
        <a:lstStyle/>
        <a:p>
          <a:r>
            <a:rPr lang="nl-NL" dirty="0">
              <a:solidFill>
                <a:srgbClr val="002060"/>
              </a:solidFill>
              <a:latin typeface="Cambria" panose="02040503050406030204" pitchFamily="18" charset="0"/>
            </a:rPr>
            <a:t>Neuroloog</a:t>
          </a:r>
        </a:p>
      </dgm:t>
    </dgm:pt>
    <dgm:pt modelId="{EE855554-B42B-472E-AFA1-DC5099F89887}" type="parTrans" cxnId="{4DD9C79D-C99C-4B65-9FA3-F703ABCA338E}">
      <dgm:prSet/>
      <dgm:spPr/>
      <dgm:t>
        <a:bodyPr/>
        <a:lstStyle/>
        <a:p>
          <a:endParaRPr lang="nl-NL"/>
        </a:p>
      </dgm:t>
    </dgm:pt>
    <dgm:pt modelId="{E2815874-7799-4BC2-9528-40E619E2134E}" type="sibTrans" cxnId="{4DD9C79D-C99C-4B65-9FA3-F703ABCA338E}">
      <dgm:prSet/>
      <dgm:spPr>
        <a:solidFill>
          <a:srgbClr val="1D3175"/>
        </a:solidFill>
      </dgm:spPr>
      <dgm:t>
        <a:bodyPr/>
        <a:lstStyle/>
        <a:p>
          <a:endParaRPr lang="nl-NL" dirty="0"/>
        </a:p>
      </dgm:t>
    </dgm:pt>
    <dgm:pt modelId="{9384FF32-CF6E-48E8-9887-C2FE506FD18B}">
      <dgm:prSet phldrT="[Tekst]"/>
      <dgm:spPr>
        <a:solidFill>
          <a:schemeClr val="accent2"/>
        </a:solidFill>
      </dgm:spPr>
      <dgm:t>
        <a:bodyPr/>
        <a:lstStyle/>
        <a:p>
          <a:r>
            <a:rPr lang="nl-NL" b="0" dirty="0">
              <a:solidFill>
                <a:srgbClr val="002060"/>
              </a:solidFill>
              <a:latin typeface="Cambria" panose="02040503050406030204" pitchFamily="18" charset="0"/>
            </a:rPr>
            <a:t>Apotheker</a:t>
          </a:r>
        </a:p>
      </dgm:t>
    </dgm:pt>
    <dgm:pt modelId="{CE3C0B0A-8D9B-4F10-9877-58D753D489F9}" type="parTrans" cxnId="{7ADD8F55-5153-4710-8002-A4481CB06BF7}">
      <dgm:prSet/>
      <dgm:spPr/>
      <dgm:t>
        <a:bodyPr/>
        <a:lstStyle/>
        <a:p>
          <a:endParaRPr lang="nl-NL"/>
        </a:p>
      </dgm:t>
    </dgm:pt>
    <dgm:pt modelId="{0DFBB699-93F3-4A1B-8D24-39FC7D421567}" type="sibTrans" cxnId="{7ADD8F55-5153-4710-8002-A4481CB06BF7}">
      <dgm:prSet/>
      <dgm:spPr>
        <a:solidFill>
          <a:srgbClr val="1D3175"/>
        </a:solidFill>
      </dgm:spPr>
      <dgm:t>
        <a:bodyPr/>
        <a:lstStyle/>
        <a:p>
          <a:endParaRPr lang="nl-NL" dirty="0"/>
        </a:p>
      </dgm:t>
    </dgm:pt>
    <dgm:pt modelId="{8898FC88-2CF1-436A-821F-6CF29D56C02D}" type="pres">
      <dgm:prSet presAssocID="{2C98FA47-DDCD-4542-894C-2F0B57F0758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nl-NL"/>
        </a:p>
      </dgm:t>
    </dgm:pt>
    <dgm:pt modelId="{BFECE67D-236E-4BE1-B3B8-412645C260C8}" type="pres">
      <dgm:prSet presAssocID="{744B7E2E-D465-4A41-94B6-2BA010E4F34A}" presName="node" presStyleLbl="node1" presStyleIdx="0" presStyleCnt="3" custRadScaleRad="80746" custRadScaleInc="3073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C48F50CB-A4DD-4F1E-BF6A-6D3D52EDC526}" type="pres">
      <dgm:prSet presAssocID="{3B8BF0C8-FCFD-4134-A7BC-C1454AD6AE01}" presName="sibTrans" presStyleLbl="sibTrans2D1" presStyleIdx="0" presStyleCnt="3" custLinFactNeighborX="41099" custLinFactNeighborY="-20699"/>
      <dgm:spPr/>
      <dgm:t>
        <a:bodyPr/>
        <a:lstStyle/>
        <a:p>
          <a:endParaRPr lang="nl-NL"/>
        </a:p>
      </dgm:t>
    </dgm:pt>
    <dgm:pt modelId="{9C142769-4653-4AFA-857E-C52EFB502A76}" type="pres">
      <dgm:prSet presAssocID="{3B8BF0C8-FCFD-4134-A7BC-C1454AD6AE01}" presName="connectorText" presStyleLbl="sibTrans2D1" presStyleIdx="0" presStyleCnt="3"/>
      <dgm:spPr/>
      <dgm:t>
        <a:bodyPr/>
        <a:lstStyle/>
        <a:p>
          <a:endParaRPr lang="nl-NL"/>
        </a:p>
      </dgm:t>
    </dgm:pt>
    <dgm:pt modelId="{770C93DD-14FC-40F2-9860-0D3E99B0E679}" type="pres">
      <dgm:prSet presAssocID="{6EDC0D36-B161-4487-AB05-E81DD2BCF3DF}" presName="node" presStyleLbl="node1" presStyleIdx="1" presStyleCnt="3" custRadScaleRad="95724" custRadScaleInc="-5104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28E45D04-017E-435F-8404-CDB0C4BA343F}" type="pres">
      <dgm:prSet presAssocID="{E2815874-7799-4BC2-9528-40E619E2134E}" presName="sibTrans" presStyleLbl="sibTrans2D1" presStyleIdx="1" presStyleCnt="3" custLinFactNeighborX="-787" custLinFactNeighborY="2"/>
      <dgm:spPr/>
      <dgm:t>
        <a:bodyPr/>
        <a:lstStyle/>
        <a:p>
          <a:endParaRPr lang="nl-NL"/>
        </a:p>
      </dgm:t>
    </dgm:pt>
    <dgm:pt modelId="{D44E5AB5-EB0D-408F-802F-8397780564D5}" type="pres">
      <dgm:prSet presAssocID="{E2815874-7799-4BC2-9528-40E619E2134E}" presName="connectorText" presStyleLbl="sibTrans2D1" presStyleIdx="1" presStyleCnt="3"/>
      <dgm:spPr/>
      <dgm:t>
        <a:bodyPr/>
        <a:lstStyle/>
        <a:p>
          <a:endParaRPr lang="nl-NL"/>
        </a:p>
      </dgm:t>
    </dgm:pt>
    <dgm:pt modelId="{BE568D80-519D-4E69-B44E-C31236F0BBE1}" type="pres">
      <dgm:prSet presAssocID="{9384FF32-CF6E-48E8-9887-C2FE506FD18B}" presName="node" presStyleLbl="node1" presStyleIdx="2" presStyleCnt="3" custRadScaleRad="96335" custRadScaleInc="5412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C3868FAC-1AF1-4F88-8653-42E5A9D07369}" type="pres">
      <dgm:prSet presAssocID="{0DFBB699-93F3-4A1B-8D24-39FC7D421567}" presName="sibTrans" presStyleLbl="sibTrans2D1" presStyleIdx="2" presStyleCnt="3" custLinFactNeighborX="-43876" custLinFactNeighborY="-20700"/>
      <dgm:spPr/>
      <dgm:t>
        <a:bodyPr/>
        <a:lstStyle/>
        <a:p>
          <a:endParaRPr lang="nl-NL"/>
        </a:p>
      </dgm:t>
    </dgm:pt>
    <dgm:pt modelId="{38E551F5-555C-4C66-8E00-3C3F6D6E9657}" type="pres">
      <dgm:prSet presAssocID="{0DFBB699-93F3-4A1B-8D24-39FC7D421567}" presName="connectorText" presStyleLbl="sibTrans2D1" presStyleIdx="2" presStyleCnt="3"/>
      <dgm:spPr/>
      <dgm:t>
        <a:bodyPr/>
        <a:lstStyle/>
        <a:p>
          <a:endParaRPr lang="nl-NL"/>
        </a:p>
      </dgm:t>
    </dgm:pt>
  </dgm:ptLst>
  <dgm:cxnLst>
    <dgm:cxn modelId="{501DD763-0FC9-49A8-9733-2B28402C0B6A}" type="presOf" srcId="{9384FF32-CF6E-48E8-9887-C2FE506FD18B}" destId="{BE568D80-519D-4E69-B44E-C31236F0BBE1}" srcOrd="0" destOrd="0" presId="urn:microsoft.com/office/officeart/2005/8/layout/cycle7"/>
    <dgm:cxn modelId="{7ADD8F55-5153-4710-8002-A4481CB06BF7}" srcId="{2C98FA47-DDCD-4542-894C-2F0B57F07586}" destId="{9384FF32-CF6E-48E8-9887-C2FE506FD18B}" srcOrd="2" destOrd="0" parTransId="{CE3C0B0A-8D9B-4F10-9877-58D753D489F9}" sibTransId="{0DFBB699-93F3-4A1B-8D24-39FC7D421567}"/>
    <dgm:cxn modelId="{52F74095-DA5A-4087-A4D2-7463DFF18E33}" type="presOf" srcId="{0DFBB699-93F3-4A1B-8D24-39FC7D421567}" destId="{38E551F5-555C-4C66-8E00-3C3F6D6E9657}" srcOrd="1" destOrd="0" presId="urn:microsoft.com/office/officeart/2005/8/layout/cycle7"/>
    <dgm:cxn modelId="{5F5A6E1D-FDF4-4BE1-B2E9-037431849E3C}" type="presOf" srcId="{2C98FA47-DDCD-4542-894C-2F0B57F07586}" destId="{8898FC88-2CF1-436A-821F-6CF29D56C02D}" srcOrd="0" destOrd="0" presId="urn:microsoft.com/office/officeart/2005/8/layout/cycle7"/>
    <dgm:cxn modelId="{0977E6C4-853B-4F7A-921A-A04A055C3B16}" type="presOf" srcId="{3B8BF0C8-FCFD-4134-A7BC-C1454AD6AE01}" destId="{9C142769-4653-4AFA-857E-C52EFB502A76}" srcOrd="1" destOrd="0" presId="urn:microsoft.com/office/officeart/2005/8/layout/cycle7"/>
    <dgm:cxn modelId="{4DD9C79D-C99C-4B65-9FA3-F703ABCA338E}" srcId="{2C98FA47-DDCD-4542-894C-2F0B57F07586}" destId="{6EDC0D36-B161-4487-AB05-E81DD2BCF3DF}" srcOrd="1" destOrd="0" parTransId="{EE855554-B42B-472E-AFA1-DC5099F89887}" sibTransId="{E2815874-7799-4BC2-9528-40E619E2134E}"/>
    <dgm:cxn modelId="{A949D0F4-BF89-4B45-A6D4-FE2F540E41A7}" srcId="{2C98FA47-DDCD-4542-894C-2F0B57F07586}" destId="{744B7E2E-D465-4A41-94B6-2BA010E4F34A}" srcOrd="0" destOrd="0" parTransId="{3FF585B5-15F4-4413-A36C-C62BB11FA7DC}" sibTransId="{3B8BF0C8-FCFD-4134-A7BC-C1454AD6AE01}"/>
    <dgm:cxn modelId="{A7F5689E-6E4C-40FA-8033-C0F5257C2D3B}" type="presOf" srcId="{E2815874-7799-4BC2-9528-40E619E2134E}" destId="{D44E5AB5-EB0D-408F-802F-8397780564D5}" srcOrd="1" destOrd="0" presId="urn:microsoft.com/office/officeart/2005/8/layout/cycle7"/>
    <dgm:cxn modelId="{AB5A058D-2FCB-4DBA-8504-FAF70C49C43A}" type="presOf" srcId="{6EDC0D36-B161-4487-AB05-E81DD2BCF3DF}" destId="{770C93DD-14FC-40F2-9860-0D3E99B0E679}" srcOrd="0" destOrd="0" presId="urn:microsoft.com/office/officeart/2005/8/layout/cycle7"/>
    <dgm:cxn modelId="{8497CC48-A1DC-404C-A221-B506787D2647}" type="presOf" srcId="{3B8BF0C8-FCFD-4134-A7BC-C1454AD6AE01}" destId="{C48F50CB-A4DD-4F1E-BF6A-6D3D52EDC526}" srcOrd="0" destOrd="0" presId="urn:microsoft.com/office/officeart/2005/8/layout/cycle7"/>
    <dgm:cxn modelId="{BAB677A8-4387-47C7-BA9D-E039524E4A3E}" type="presOf" srcId="{744B7E2E-D465-4A41-94B6-2BA010E4F34A}" destId="{BFECE67D-236E-4BE1-B3B8-412645C260C8}" srcOrd="0" destOrd="0" presId="urn:microsoft.com/office/officeart/2005/8/layout/cycle7"/>
    <dgm:cxn modelId="{35A49A18-61FA-44AA-871B-4B27AC679BBA}" type="presOf" srcId="{0DFBB699-93F3-4A1B-8D24-39FC7D421567}" destId="{C3868FAC-1AF1-4F88-8653-42E5A9D07369}" srcOrd="0" destOrd="0" presId="urn:microsoft.com/office/officeart/2005/8/layout/cycle7"/>
    <dgm:cxn modelId="{DC9E6DDF-60D0-4EFB-8D69-A8EADC58E5EB}" type="presOf" srcId="{E2815874-7799-4BC2-9528-40E619E2134E}" destId="{28E45D04-017E-435F-8404-CDB0C4BA343F}" srcOrd="0" destOrd="0" presId="urn:microsoft.com/office/officeart/2005/8/layout/cycle7"/>
    <dgm:cxn modelId="{50C5FBC5-F629-4E42-BF44-BB2DEF158DDA}" type="presParOf" srcId="{8898FC88-2CF1-436A-821F-6CF29D56C02D}" destId="{BFECE67D-236E-4BE1-B3B8-412645C260C8}" srcOrd="0" destOrd="0" presId="urn:microsoft.com/office/officeart/2005/8/layout/cycle7"/>
    <dgm:cxn modelId="{FB5244EA-510F-4B23-8387-1FF32731A884}" type="presParOf" srcId="{8898FC88-2CF1-436A-821F-6CF29D56C02D}" destId="{C48F50CB-A4DD-4F1E-BF6A-6D3D52EDC526}" srcOrd="1" destOrd="0" presId="urn:microsoft.com/office/officeart/2005/8/layout/cycle7"/>
    <dgm:cxn modelId="{E6D46FD5-9241-44C3-971B-60CA6A1E2632}" type="presParOf" srcId="{C48F50CB-A4DD-4F1E-BF6A-6D3D52EDC526}" destId="{9C142769-4653-4AFA-857E-C52EFB502A76}" srcOrd="0" destOrd="0" presId="urn:microsoft.com/office/officeart/2005/8/layout/cycle7"/>
    <dgm:cxn modelId="{EC87EAE1-BFF4-41C5-B47A-837A894AA820}" type="presParOf" srcId="{8898FC88-2CF1-436A-821F-6CF29D56C02D}" destId="{770C93DD-14FC-40F2-9860-0D3E99B0E679}" srcOrd="2" destOrd="0" presId="urn:microsoft.com/office/officeart/2005/8/layout/cycle7"/>
    <dgm:cxn modelId="{AAB3A760-CD39-464A-B395-C56F51DA88A4}" type="presParOf" srcId="{8898FC88-2CF1-436A-821F-6CF29D56C02D}" destId="{28E45D04-017E-435F-8404-CDB0C4BA343F}" srcOrd="3" destOrd="0" presId="urn:microsoft.com/office/officeart/2005/8/layout/cycle7"/>
    <dgm:cxn modelId="{CF50F859-0760-41FD-AD5F-808F4D3908B9}" type="presParOf" srcId="{28E45D04-017E-435F-8404-CDB0C4BA343F}" destId="{D44E5AB5-EB0D-408F-802F-8397780564D5}" srcOrd="0" destOrd="0" presId="urn:microsoft.com/office/officeart/2005/8/layout/cycle7"/>
    <dgm:cxn modelId="{4DA48662-E9ED-4F3D-93A7-59241F962F83}" type="presParOf" srcId="{8898FC88-2CF1-436A-821F-6CF29D56C02D}" destId="{BE568D80-519D-4E69-B44E-C31236F0BBE1}" srcOrd="4" destOrd="0" presId="urn:microsoft.com/office/officeart/2005/8/layout/cycle7"/>
    <dgm:cxn modelId="{6C792A12-FBD7-442D-B7CC-958750FC587D}" type="presParOf" srcId="{8898FC88-2CF1-436A-821F-6CF29D56C02D}" destId="{C3868FAC-1AF1-4F88-8653-42E5A9D07369}" srcOrd="5" destOrd="0" presId="urn:microsoft.com/office/officeart/2005/8/layout/cycle7"/>
    <dgm:cxn modelId="{4B9A3689-4DB5-4C4C-A930-1A6C5853FEFC}" type="presParOf" srcId="{C3868FAC-1AF1-4F88-8653-42E5A9D07369}" destId="{38E551F5-555C-4C66-8E00-3C3F6D6E9657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54AC692-2428-4622-813D-88E86C14548E}" type="doc">
      <dgm:prSet loTypeId="urn:microsoft.com/office/officeart/2005/8/layout/chevron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nl-NL"/>
        </a:p>
      </dgm:t>
    </dgm:pt>
    <dgm:pt modelId="{3DD73726-4F2A-494C-91FF-A24AF28970E1}">
      <dgm:prSet phldrT="[Tekst]" custT="1"/>
      <dgm:spPr>
        <a:solidFill>
          <a:srgbClr val="339933"/>
        </a:solidFill>
        <a:ln>
          <a:solidFill>
            <a:srgbClr val="339933"/>
          </a:solidFill>
        </a:ln>
      </dgm:spPr>
      <dgm:t>
        <a:bodyPr/>
        <a:lstStyle/>
        <a:p>
          <a:r>
            <a:rPr lang="nl-NL" sz="1800" b="1" dirty="0">
              <a:solidFill>
                <a:srgbClr val="002060"/>
              </a:solidFill>
              <a:latin typeface="Cambria" panose="02040503050406030204" pitchFamily="18" charset="0"/>
            </a:rPr>
            <a:t>Verbetering</a:t>
          </a:r>
        </a:p>
        <a:p>
          <a:r>
            <a:rPr lang="nl-NL" sz="1800" b="1" dirty="0">
              <a:solidFill>
                <a:srgbClr val="002060"/>
              </a:solidFill>
              <a:latin typeface="Cambria" panose="02040503050406030204" pitchFamily="18" charset="0"/>
            </a:rPr>
            <a:t>Therapie Trouw</a:t>
          </a:r>
        </a:p>
        <a:p>
          <a:endParaRPr lang="nl-NL" sz="1800" b="1" dirty="0">
            <a:solidFill>
              <a:srgbClr val="002060"/>
            </a:solidFill>
            <a:latin typeface="Cambria" panose="02040503050406030204" pitchFamily="18" charset="0"/>
          </a:endParaRPr>
        </a:p>
      </dgm:t>
    </dgm:pt>
    <dgm:pt modelId="{2329FDCD-6BFD-4C66-9FB3-CA81DB051989}" type="parTrans" cxnId="{BB46DD7A-C42D-4990-9F70-A7C55D3EBE05}">
      <dgm:prSet/>
      <dgm:spPr/>
      <dgm:t>
        <a:bodyPr/>
        <a:lstStyle/>
        <a:p>
          <a:endParaRPr lang="nl-NL"/>
        </a:p>
      </dgm:t>
    </dgm:pt>
    <dgm:pt modelId="{D3CBB59C-35B3-4DCB-9528-73337A497A3E}" type="sibTrans" cxnId="{BB46DD7A-C42D-4990-9F70-A7C55D3EBE05}">
      <dgm:prSet/>
      <dgm:spPr/>
      <dgm:t>
        <a:bodyPr/>
        <a:lstStyle/>
        <a:p>
          <a:endParaRPr lang="nl-NL"/>
        </a:p>
      </dgm:t>
    </dgm:pt>
    <dgm:pt modelId="{BFF4C455-E24B-4D08-B41A-637C10A318E4}">
      <dgm:prSet phldrT="[Tekst]" custT="1"/>
      <dgm:spPr>
        <a:ln>
          <a:solidFill>
            <a:srgbClr val="1D3175"/>
          </a:solidFill>
        </a:ln>
      </dgm:spPr>
      <dgm:t>
        <a:bodyPr/>
        <a:lstStyle/>
        <a:p>
          <a:r>
            <a:rPr lang="nl-NL" sz="1800" dirty="0">
              <a:solidFill>
                <a:srgbClr val="002060"/>
              </a:solidFill>
              <a:latin typeface="Cambria" panose="02040503050406030204" pitchFamily="18" charset="0"/>
            </a:rPr>
            <a:t>Slechte therapie trouw gaat gepaard met een (mogelijk) slechtere prognose voor de patiënt</a:t>
          </a:r>
        </a:p>
      </dgm:t>
    </dgm:pt>
    <dgm:pt modelId="{0B66D12E-E018-4031-8A7F-EA24D0D5519E}" type="parTrans" cxnId="{653C6D50-975B-45ED-B163-9B5B64AC4F4F}">
      <dgm:prSet/>
      <dgm:spPr/>
      <dgm:t>
        <a:bodyPr/>
        <a:lstStyle/>
        <a:p>
          <a:endParaRPr lang="nl-NL"/>
        </a:p>
      </dgm:t>
    </dgm:pt>
    <dgm:pt modelId="{764D4991-60B6-4552-93C0-38BC19D028BB}" type="sibTrans" cxnId="{653C6D50-975B-45ED-B163-9B5B64AC4F4F}">
      <dgm:prSet/>
      <dgm:spPr/>
      <dgm:t>
        <a:bodyPr/>
        <a:lstStyle/>
        <a:p>
          <a:endParaRPr lang="nl-NL"/>
        </a:p>
      </dgm:t>
    </dgm:pt>
    <dgm:pt modelId="{D7BC27B4-75E6-4F60-8D04-B20EAF12C637}">
      <dgm:prSet phldrT="[Tekst]" custT="1"/>
      <dgm:spPr>
        <a:ln>
          <a:solidFill>
            <a:srgbClr val="1D3175"/>
          </a:solidFill>
        </a:ln>
      </dgm:spPr>
      <dgm:t>
        <a:bodyPr/>
        <a:lstStyle/>
        <a:p>
          <a:r>
            <a:rPr lang="nl-NL" sz="1800" dirty="0">
              <a:solidFill>
                <a:srgbClr val="002060"/>
              </a:solidFill>
              <a:latin typeface="Cambria" panose="02040503050406030204" pitchFamily="18" charset="0"/>
            </a:rPr>
            <a:t>Kost veel geld  !</a:t>
          </a:r>
        </a:p>
      </dgm:t>
    </dgm:pt>
    <dgm:pt modelId="{BFD1AA2B-753A-4262-B375-878B12EA8BF0}" type="parTrans" cxnId="{5E3FD189-CDB9-4219-9420-D14CE928B5E1}">
      <dgm:prSet/>
      <dgm:spPr/>
      <dgm:t>
        <a:bodyPr/>
        <a:lstStyle/>
        <a:p>
          <a:endParaRPr lang="nl-NL"/>
        </a:p>
      </dgm:t>
    </dgm:pt>
    <dgm:pt modelId="{83A6DE3D-FC68-4882-B248-0117F6C24D80}" type="sibTrans" cxnId="{5E3FD189-CDB9-4219-9420-D14CE928B5E1}">
      <dgm:prSet/>
      <dgm:spPr/>
      <dgm:t>
        <a:bodyPr/>
        <a:lstStyle/>
        <a:p>
          <a:endParaRPr lang="nl-NL"/>
        </a:p>
      </dgm:t>
    </dgm:pt>
    <dgm:pt modelId="{DE7B151A-E5A6-400C-98C0-F6EADA47911B}">
      <dgm:prSet phldrT="[Tekst]" custT="1"/>
      <dgm:spPr>
        <a:solidFill>
          <a:srgbClr val="339933"/>
        </a:solidFill>
        <a:ln>
          <a:solidFill>
            <a:srgbClr val="339933"/>
          </a:solidFill>
        </a:ln>
      </dgm:spPr>
      <dgm:t>
        <a:bodyPr/>
        <a:lstStyle/>
        <a:p>
          <a:r>
            <a:rPr lang="nl-NL" sz="1800" b="1" dirty="0">
              <a:solidFill>
                <a:srgbClr val="002060"/>
              </a:solidFill>
              <a:latin typeface="Cambria" panose="02040503050406030204" pitchFamily="18" charset="0"/>
            </a:rPr>
            <a:t>Extra  Begeleiding  als Ziekte niet stabiel is!</a:t>
          </a:r>
          <a:endParaRPr lang="nl-NL" sz="1400" b="1" dirty="0">
            <a:solidFill>
              <a:srgbClr val="002060"/>
            </a:solidFill>
            <a:latin typeface="Cambria" panose="02040503050406030204" pitchFamily="18" charset="0"/>
          </a:endParaRPr>
        </a:p>
      </dgm:t>
    </dgm:pt>
    <dgm:pt modelId="{529FA029-56D3-40E7-9326-B6B5052534ED}" type="parTrans" cxnId="{A1AB8803-AA3E-486F-ABE1-DC84644E8C6E}">
      <dgm:prSet/>
      <dgm:spPr/>
      <dgm:t>
        <a:bodyPr/>
        <a:lstStyle/>
        <a:p>
          <a:endParaRPr lang="nl-NL"/>
        </a:p>
      </dgm:t>
    </dgm:pt>
    <dgm:pt modelId="{8ABD0C64-276C-496C-A314-54D89E8EFFE6}" type="sibTrans" cxnId="{A1AB8803-AA3E-486F-ABE1-DC84644E8C6E}">
      <dgm:prSet/>
      <dgm:spPr/>
      <dgm:t>
        <a:bodyPr/>
        <a:lstStyle/>
        <a:p>
          <a:endParaRPr lang="nl-NL"/>
        </a:p>
      </dgm:t>
    </dgm:pt>
    <dgm:pt modelId="{5B65EEE1-AF2A-4994-85AF-29A8B7BE4BA0}">
      <dgm:prSet phldrT="[Tekst]" custT="1"/>
      <dgm:spPr>
        <a:ln>
          <a:solidFill>
            <a:srgbClr val="000065"/>
          </a:solidFill>
        </a:ln>
      </dgm:spPr>
      <dgm:t>
        <a:bodyPr/>
        <a:lstStyle/>
        <a:p>
          <a:r>
            <a:rPr lang="nl-NL" sz="1800" dirty="0">
              <a:solidFill>
                <a:srgbClr val="002060"/>
              </a:solidFill>
              <a:latin typeface="Cambria" panose="02040503050406030204" pitchFamily="18" charset="0"/>
            </a:rPr>
            <a:t>Pak On/Off aan!</a:t>
          </a:r>
        </a:p>
      </dgm:t>
    </dgm:pt>
    <dgm:pt modelId="{CA0C2A98-8193-440A-B785-FB55436E75DE}" type="parTrans" cxnId="{C349236D-3BDD-40D2-BF35-C6B65BD53700}">
      <dgm:prSet/>
      <dgm:spPr/>
      <dgm:t>
        <a:bodyPr/>
        <a:lstStyle/>
        <a:p>
          <a:endParaRPr lang="nl-NL"/>
        </a:p>
      </dgm:t>
    </dgm:pt>
    <dgm:pt modelId="{51E8AB76-4EB5-40F0-8318-0D90B8B6AEBB}" type="sibTrans" cxnId="{C349236D-3BDD-40D2-BF35-C6B65BD53700}">
      <dgm:prSet/>
      <dgm:spPr/>
      <dgm:t>
        <a:bodyPr/>
        <a:lstStyle/>
        <a:p>
          <a:endParaRPr lang="nl-NL"/>
        </a:p>
      </dgm:t>
    </dgm:pt>
    <dgm:pt modelId="{79F2532A-5FC8-44C8-9AE3-2F5FDB97ADC4}">
      <dgm:prSet phldrT="[Tekst]" custT="1"/>
      <dgm:spPr>
        <a:ln>
          <a:solidFill>
            <a:srgbClr val="000065"/>
          </a:solidFill>
        </a:ln>
      </dgm:spPr>
      <dgm:t>
        <a:bodyPr/>
        <a:lstStyle/>
        <a:p>
          <a:r>
            <a:rPr lang="nl-NL" sz="1800" dirty="0">
              <a:solidFill>
                <a:srgbClr val="002060"/>
              </a:solidFill>
              <a:latin typeface="Cambria" panose="02040503050406030204" pitchFamily="18" charset="0"/>
            </a:rPr>
            <a:t>Pak onwillekeurige bewegingen aan!</a:t>
          </a:r>
        </a:p>
      </dgm:t>
    </dgm:pt>
    <dgm:pt modelId="{1002D0BE-C9FE-4B09-A315-CF51AF4FE37A}" type="parTrans" cxnId="{F347B3D0-4AE1-4A33-B8CB-17CFC5BD8B25}">
      <dgm:prSet/>
      <dgm:spPr/>
      <dgm:t>
        <a:bodyPr/>
        <a:lstStyle/>
        <a:p>
          <a:endParaRPr lang="nl-NL"/>
        </a:p>
      </dgm:t>
    </dgm:pt>
    <dgm:pt modelId="{88EDC850-C4AE-425A-8BD8-A3A5CD42F3C8}" type="sibTrans" cxnId="{F347B3D0-4AE1-4A33-B8CB-17CFC5BD8B25}">
      <dgm:prSet/>
      <dgm:spPr/>
      <dgm:t>
        <a:bodyPr/>
        <a:lstStyle/>
        <a:p>
          <a:endParaRPr lang="nl-NL"/>
        </a:p>
      </dgm:t>
    </dgm:pt>
    <dgm:pt modelId="{FA5E9292-24F2-4C29-9DD5-1018015A5AF0}">
      <dgm:prSet phldrT="[Tekst]" custT="1"/>
      <dgm:spPr>
        <a:solidFill>
          <a:srgbClr val="339933"/>
        </a:solidFill>
      </dgm:spPr>
      <dgm:t>
        <a:bodyPr/>
        <a:lstStyle/>
        <a:p>
          <a:r>
            <a:rPr lang="nl-NL" sz="1800" b="1" dirty="0">
              <a:solidFill>
                <a:srgbClr val="002060"/>
              </a:solidFill>
              <a:latin typeface="Cambria" panose="02040503050406030204" pitchFamily="18" charset="0"/>
            </a:rPr>
            <a:t>Motorische en Niet Motorische </a:t>
          </a:r>
        </a:p>
        <a:p>
          <a:r>
            <a:rPr lang="nl-NL" sz="1800" b="1" dirty="0">
              <a:solidFill>
                <a:srgbClr val="002060"/>
              </a:solidFill>
              <a:latin typeface="Cambria" panose="02040503050406030204" pitchFamily="18" charset="0"/>
            </a:rPr>
            <a:t>Symptomen</a:t>
          </a:r>
        </a:p>
      </dgm:t>
    </dgm:pt>
    <dgm:pt modelId="{92050F54-8F2B-427B-B8CE-9917E9ECBE2B}" type="parTrans" cxnId="{58FDD116-0F38-4B79-86CB-DD4C61EEB20F}">
      <dgm:prSet/>
      <dgm:spPr/>
      <dgm:t>
        <a:bodyPr/>
        <a:lstStyle/>
        <a:p>
          <a:endParaRPr lang="nl-NL"/>
        </a:p>
      </dgm:t>
    </dgm:pt>
    <dgm:pt modelId="{22D22FC8-DA10-42F6-9698-9A02CC9E188A}" type="sibTrans" cxnId="{58FDD116-0F38-4B79-86CB-DD4C61EEB20F}">
      <dgm:prSet/>
      <dgm:spPr/>
      <dgm:t>
        <a:bodyPr/>
        <a:lstStyle/>
        <a:p>
          <a:endParaRPr lang="nl-NL"/>
        </a:p>
      </dgm:t>
    </dgm:pt>
    <dgm:pt modelId="{92D3BCB7-B3BB-4341-9744-14FDEAB1CFE1}">
      <dgm:prSet phldrT="[Tekst]" custT="1"/>
      <dgm:spPr>
        <a:ln>
          <a:solidFill>
            <a:srgbClr val="1D3175"/>
          </a:solidFill>
        </a:ln>
      </dgm:spPr>
      <dgm:t>
        <a:bodyPr/>
        <a:lstStyle/>
        <a:p>
          <a:r>
            <a:rPr lang="nl-NL" sz="1800" dirty="0">
              <a:solidFill>
                <a:srgbClr val="002060"/>
              </a:solidFill>
              <a:latin typeface="Cambria" panose="02040503050406030204" pitchFamily="18" charset="0"/>
            </a:rPr>
            <a:t>Start op tijd met L-dopa !!</a:t>
          </a:r>
        </a:p>
      </dgm:t>
    </dgm:pt>
    <dgm:pt modelId="{C8CA429C-85A1-4844-A483-1B5B8F4EFB82}" type="parTrans" cxnId="{856C6D2D-F6E1-437A-9398-DF0C82998779}">
      <dgm:prSet/>
      <dgm:spPr/>
      <dgm:t>
        <a:bodyPr/>
        <a:lstStyle/>
        <a:p>
          <a:endParaRPr lang="nl-NL"/>
        </a:p>
      </dgm:t>
    </dgm:pt>
    <dgm:pt modelId="{A4716153-36F4-48AC-A3D2-3A530213CA10}" type="sibTrans" cxnId="{856C6D2D-F6E1-437A-9398-DF0C82998779}">
      <dgm:prSet/>
      <dgm:spPr/>
      <dgm:t>
        <a:bodyPr/>
        <a:lstStyle/>
        <a:p>
          <a:endParaRPr lang="nl-NL"/>
        </a:p>
      </dgm:t>
    </dgm:pt>
    <dgm:pt modelId="{54CE03E6-2A81-476E-AAB4-E7AF317A2ABB}">
      <dgm:prSet phldrT="[Tekst]" custT="1"/>
      <dgm:spPr>
        <a:ln>
          <a:solidFill>
            <a:srgbClr val="1D3175"/>
          </a:solidFill>
        </a:ln>
      </dgm:spPr>
      <dgm:t>
        <a:bodyPr/>
        <a:lstStyle/>
        <a:p>
          <a:r>
            <a:rPr lang="nl-NL" sz="1800" dirty="0">
              <a:solidFill>
                <a:srgbClr val="002060"/>
              </a:solidFill>
              <a:latin typeface="Cambria" panose="02040503050406030204" pitchFamily="18" charset="0"/>
            </a:rPr>
            <a:t>Onvoldoende Verbetering  Symptomen</a:t>
          </a:r>
        </a:p>
      </dgm:t>
    </dgm:pt>
    <dgm:pt modelId="{1583ED7D-962E-47E0-BF05-633A5FC3E930}" type="parTrans" cxnId="{FF58B469-AE23-4E55-A15B-4746175859F5}">
      <dgm:prSet/>
      <dgm:spPr/>
      <dgm:t>
        <a:bodyPr/>
        <a:lstStyle/>
        <a:p>
          <a:endParaRPr lang="nl-NL"/>
        </a:p>
      </dgm:t>
    </dgm:pt>
    <dgm:pt modelId="{D63A5B68-79B3-4CEE-A492-57CE791F0B87}" type="sibTrans" cxnId="{FF58B469-AE23-4E55-A15B-4746175859F5}">
      <dgm:prSet/>
      <dgm:spPr/>
      <dgm:t>
        <a:bodyPr/>
        <a:lstStyle/>
        <a:p>
          <a:endParaRPr lang="nl-NL"/>
        </a:p>
      </dgm:t>
    </dgm:pt>
    <dgm:pt modelId="{D1943060-CC19-446E-AFE6-A552C1F2A33E}">
      <dgm:prSet custT="1"/>
      <dgm:spPr>
        <a:ln>
          <a:solidFill>
            <a:srgbClr val="1D3175"/>
          </a:solidFill>
        </a:ln>
      </dgm:spPr>
      <dgm:t>
        <a:bodyPr/>
        <a:lstStyle/>
        <a:p>
          <a:endParaRPr lang="nl-NL" sz="3000" dirty="0"/>
        </a:p>
      </dgm:t>
    </dgm:pt>
    <dgm:pt modelId="{A68D7B64-481A-4B18-960D-D901D9F97BF0}" type="parTrans" cxnId="{4FE9EE83-F636-4F6F-A83C-33541181D6AB}">
      <dgm:prSet/>
      <dgm:spPr/>
      <dgm:t>
        <a:bodyPr/>
        <a:lstStyle/>
        <a:p>
          <a:endParaRPr lang="nl-NL"/>
        </a:p>
      </dgm:t>
    </dgm:pt>
    <dgm:pt modelId="{BBB90BDA-58C8-4B4B-BC75-AD5AC57000BC}" type="sibTrans" cxnId="{4FE9EE83-F636-4F6F-A83C-33541181D6AB}">
      <dgm:prSet/>
      <dgm:spPr/>
      <dgm:t>
        <a:bodyPr/>
        <a:lstStyle/>
        <a:p>
          <a:endParaRPr lang="nl-NL"/>
        </a:p>
      </dgm:t>
    </dgm:pt>
    <dgm:pt modelId="{F74E53C0-F234-4C8E-9EF4-BD45BEBF39D9}">
      <dgm:prSet custT="1"/>
      <dgm:spPr>
        <a:ln>
          <a:solidFill>
            <a:srgbClr val="1D3175"/>
          </a:solidFill>
        </a:ln>
      </dgm:spPr>
      <dgm:t>
        <a:bodyPr/>
        <a:lstStyle/>
        <a:p>
          <a:r>
            <a:rPr lang="nl-NL" sz="1800" dirty="0">
              <a:solidFill>
                <a:srgbClr val="002060"/>
              </a:solidFill>
              <a:latin typeface="Cambria" panose="02040503050406030204" pitchFamily="18" charset="0"/>
            </a:rPr>
            <a:t>Het starten met L-dopa of een dopamine agonist hangt niet af van de leeftijd, maar vooral van ziekte-ernst en co-morbiditeit</a:t>
          </a:r>
        </a:p>
      </dgm:t>
    </dgm:pt>
    <dgm:pt modelId="{9041B903-95E8-407E-A61A-F54FDF288CBA}" type="parTrans" cxnId="{9FCF6D41-E239-4A22-B129-C28932AE5DE7}">
      <dgm:prSet/>
      <dgm:spPr/>
      <dgm:t>
        <a:bodyPr/>
        <a:lstStyle/>
        <a:p>
          <a:endParaRPr lang="nl-NL"/>
        </a:p>
      </dgm:t>
    </dgm:pt>
    <dgm:pt modelId="{D226A812-4C62-4628-9B23-6C1C00CF8181}" type="sibTrans" cxnId="{9FCF6D41-E239-4A22-B129-C28932AE5DE7}">
      <dgm:prSet/>
      <dgm:spPr/>
      <dgm:t>
        <a:bodyPr/>
        <a:lstStyle/>
        <a:p>
          <a:endParaRPr lang="nl-NL"/>
        </a:p>
      </dgm:t>
    </dgm:pt>
    <dgm:pt modelId="{925CB508-7D2D-4A87-BE2D-B73190430FDB}">
      <dgm:prSet custT="1"/>
      <dgm:spPr>
        <a:ln>
          <a:solidFill>
            <a:srgbClr val="1D3175"/>
          </a:solidFill>
        </a:ln>
      </dgm:spPr>
      <dgm:t>
        <a:bodyPr/>
        <a:lstStyle/>
        <a:p>
          <a:r>
            <a:rPr lang="nl-NL" sz="1800" dirty="0">
              <a:solidFill>
                <a:srgbClr val="002060"/>
              </a:solidFill>
              <a:latin typeface="Cambria" panose="02040503050406030204" pitchFamily="18" charset="0"/>
            </a:rPr>
            <a:t>Zorg ervoor dat de patiënt de </a:t>
          </a:r>
          <a:r>
            <a:rPr lang="nl-NL" sz="1800" b="1" i="1" dirty="0">
              <a:solidFill>
                <a:srgbClr val="002060"/>
              </a:solidFill>
              <a:latin typeface="Cambria" panose="02040503050406030204" pitchFamily="18" charset="0"/>
            </a:rPr>
            <a:t>nacht</a:t>
          </a:r>
          <a:r>
            <a:rPr lang="nl-NL" sz="1800" dirty="0">
              <a:solidFill>
                <a:srgbClr val="002060"/>
              </a:solidFill>
              <a:latin typeface="Cambria" panose="02040503050406030204" pitchFamily="18" charset="0"/>
            </a:rPr>
            <a:t> doorkomt!</a:t>
          </a:r>
        </a:p>
      </dgm:t>
    </dgm:pt>
    <dgm:pt modelId="{1910F5B5-1711-4D8A-8AE0-2CED8CD5A883}" type="parTrans" cxnId="{F8780B2F-A231-4FC4-A4C6-8F2D89B2C0E0}">
      <dgm:prSet/>
      <dgm:spPr/>
      <dgm:t>
        <a:bodyPr/>
        <a:lstStyle/>
        <a:p>
          <a:endParaRPr lang="nl-NL"/>
        </a:p>
      </dgm:t>
    </dgm:pt>
    <dgm:pt modelId="{320B0051-1B92-44BE-B3E2-B6C2FBE45DA3}" type="sibTrans" cxnId="{F8780B2F-A231-4FC4-A4C6-8F2D89B2C0E0}">
      <dgm:prSet/>
      <dgm:spPr/>
      <dgm:t>
        <a:bodyPr/>
        <a:lstStyle/>
        <a:p>
          <a:endParaRPr lang="nl-NL"/>
        </a:p>
      </dgm:t>
    </dgm:pt>
    <dgm:pt modelId="{3AE30E03-09E5-4CE4-8BBB-6B84C45066BB}" type="pres">
      <dgm:prSet presAssocID="{754AC692-2428-4622-813D-88E86C14548E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nl-NL"/>
        </a:p>
      </dgm:t>
    </dgm:pt>
    <dgm:pt modelId="{67FBDDDC-D806-4424-9876-3A224F0FE6E4}" type="pres">
      <dgm:prSet presAssocID="{3DD73726-4F2A-494C-91FF-A24AF28970E1}" presName="composite" presStyleCnt="0"/>
      <dgm:spPr/>
    </dgm:pt>
    <dgm:pt modelId="{B846E813-1C06-41AE-9859-C670D4A448CB}" type="pres">
      <dgm:prSet presAssocID="{3DD73726-4F2A-494C-91FF-A24AF28970E1}" presName="parentText" presStyleLbl="alignNode1" presStyleIdx="0" presStyleCnt="3" custScaleX="169900" custScaleY="106879" custLinFactNeighborX="-11896" custLinFactNeighborY="-22593">
        <dgm:presLayoutVars>
          <dgm:chMax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01917046-0DFB-427D-B9F3-3BC1CA0D9AF3}" type="pres">
      <dgm:prSet presAssocID="{3DD73726-4F2A-494C-91FF-A24AF28970E1}" presName="descendantText" presStyleLbl="alignAcc1" presStyleIdx="0" presStyleCnt="3" custScaleY="150569" custLinFactNeighborX="9299" custLinFactNeighborY="3367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A6D80F42-1F6F-4A90-A915-A6C0F5B8745D}" type="pres">
      <dgm:prSet presAssocID="{D3CBB59C-35B3-4DCB-9528-73337A497A3E}" presName="sp" presStyleCnt="0"/>
      <dgm:spPr/>
    </dgm:pt>
    <dgm:pt modelId="{0CF32E6C-CD9E-4A69-95EB-66D9FA611AC9}" type="pres">
      <dgm:prSet presAssocID="{DE7B151A-E5A6-400C-98C0-F6EADA47911B}" presName="composite" presStyleCnt="0"/>
      <dgm:spPr/>
    </dgm:pt>
    <dgm:pt modelId="{90CBEB65-72DB-4FB3-B93A-4694ED352299}" type="pres">
      <dgm:prSet presAssocID="{DE7B151A-E5A6-400C-98C0-F6EADA47911B}" presName="parentText" presStyleLbl="alignNode1" presStyleIdx="1" presStyleCnt="3" custAng="0" custScaleX="171812" custScaleY="100098" custLinFactNeighborX="-12646" custLinFactNeighborY="1122">
        <dgm:presLayoutVars>
          <dgm:chMax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993CD54B-31E9-4247-A6F2-BF5629E2C43E}" type="pres">
      <dgm:prSet presAssocID="{DE7B151A-E5A6-400C-98C0-F6EADA47911B}" presName="descendantText" presStyleLbl="alignAcc1" presStyleIdx="1" presStyleCnt="3" custScaleY="110869" custLinFactNeighborX="6567" custLinFactNeighborY="2628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496BBD39-1257-4D95-B637-8DFD2C3F6E1C}" type="pres">
      <dgm:prSet presAssocID="{8ABD0C64-276C-496C-A314-54D89E8EFFE6}" presName="sp" presStyleCnt="0"/>
      <dgm:spPr/>
    </dgm:pt>
    <dgm:pt modelId="{C3DCC23E-1D0F-4FE3-830D-A6822E6C4A88}" type="pres">
      <dgm:prSet presAssocID="{FA5E9292-24F2-4C29-9DD5-1018015A5AF0}" presName="composite" presStyleCnt="0"/>
      <dgm:spPr/>
    </dgm:pt>
    <dgm:pt modelId="{807AC81E-4FAB-4CC7-97DA-5E347E952798}" type="pres">
      <dgm:prSet presAssocID="{FA5E9292-24F2-4C29-9DD5-1018015A5AF0}" presName="parentText" presStyleLbl="alignNode1" presStyleIdx="2" presStyleCnt="3" custScaleX="173177" custScaleY="100000" custLinFactNeighborX="-15825" custLinFactNeighborY="-143">
        <dgm:presLayoutVars>
          <dgm:chMax val="1"/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ADF7980A-CBA1-443E-B533-6B9F18720D76}" type="pres">
      <dgm:prSet presAssocID="{FA5E9292-24F2-4C29-9DD5-1018015A5AF0}" presName="descendantText" presStyleLbl="alignAcc1" presStyleIdx="2" presStyleCnt="3" custScaleY="131373" custLinFactNeighborX="6129" custLinFactNeighborY="17385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856C6D2D-F6E1-437A-9398-DF0C82998779}" srcId="{FA5E9292-24F2-4C29-9DD5-1018015A5AF0}" destId="{92D3BCB7-B3BB-4341-9744-14FDEAB1CFE1}" srcOrd="0" destOrd="0" parTransId="{C8CA429C-85A1-4844-A483-1B5B8F4EFB82}" sibTransId="{A4716153-36F4-48AC-A3D2-3A530213CA10}"/>
    <dgm:cxn modelId="{9FCF6D41-E239-4A22-B129-C28932AE5DE7}" srcId="{FA5E9292-24F2-4C29-9DD5-1018015A5AF0}" destId="{F74E53C0-F234-4C8E-9EF4-BD45BEBF39D9}" srcOrd="1" destOrd="0" parTransId="{9041B903-95E8-407E-A61A-F54FDF288CBA}" sibTransId="{D226A812-4C62-4628-9B23-6C1C00CF8181}"/>
    <dgm:cxn modelId="{D0DA0B93-85F9-4062-89BD-077D3C94355D}" type="presOf" srcId="{54CE03E6-2A81-476E-AAB4-E7AF317A2ABB}" destId="{01917046-0DFB-427D-B9F3-3BC1CA0D9AF3}" srcOrd="0" destOrd="2" presId="urn:microsoft.com/office/officeart/2005/8/layout/chevron2"/>
    <dgm:cxn modelId="{F25F9E7F-9692-4C11-8BBE-E5E16709BE75}" type="presOf" srcId="{D1943060-CC19-446E-AFE6-A552C1F2A33E}" destId="{01917046-0DFB-427D-B9F3-3BC1CA0D9AF3}" srcOrd="0" destOrd="3" presId="urn:microsoft.com/office/officeart/2005/8/layout/chevron2"/>
    <dgm:cxn modelId="{9C91C453-FA5A-4DBC-B158-E5154EB256DA}" type="presOf" srcId="{DE7B151A-E5A6-400C-98C0-F6EADA47911B}" destId="{90CBEB65-72DB-4FB3-B93A-4694ED352299}" srcOrd="0" destOrd="0" presId="urn:microsoft.com/office/officeart/2005/8/layout/chevron2"/>
    <dgm:cxn modelId="{58FDD116-0F38-4B79-86CB-DD4C61EEB20F}" srcId="{754AC692-2428-4622-813D-88E86C14548E}" destId="{FA5E9292-24F2-4C29-9DD5-1018015A5AF0}" srcOrd="2" destOrd="0" parTransId="{92050F54-8F2B-427B-B8CE-9917E9ECBE2B}" sibTransId="{22D22FC8-DA10-42F6-9698-9A02CC9E188A}"/>
    <dgm:cxn modelId="{F8780B2F-A231-4FC4-A4C6-8F2D89B2C0E0}" srcId="{FA5E9292-24F2-4C29-9DD5-1018015A5AF0}" destId="{925CB508-7D2D-4A87-BE2D-B73190430FDB}" srcOrd="2" destOrd="0" parTransId="{1910F5B5-1711-4D8A-8AE0-2CED8CD5A883}" sibTransId="{320B0051-1B92-44BE-B3E2-B6C2FBE45DA3}"/>
    <dgm:cxn modelId="{727C16F4-A810-4E62-B493-8E4300489878}" type="presOf" srcId="{925CB508-7D2D-4A87-BE2D-B73190430FDB}" destId="{ADF7980A-CBA1-443E-B533-6B9F18720D76}" srcOrd="0" destOrd="2" presId="urn:microsoft.com/office/officeart/2005/8/layout/chevron2"/>
    <dgm:cxn modelId="{5E3FD189-CDB9-4219-9420-D14CE928B5E1}" srcId="{3DD73726-4F2A-494C-91FF-A24AF28970E1}" destId="{D7BC27B4-75E6-4F60-8D04-B20EAF12C637}" srcOrd="1" destOrd="0" parTransId="{BFD1AA2B-753A-4262-B375-878B12EA8BF0}" sibTransId="{83A6DE3D-FC68-4882-B248-0117F6C24D80}"/>
    <dgm:cxn modelId="{97E7AF6E-2B94-4672-83AC-AF90B12DD114}" type="presOf" srcId="{BFF4C455-E24B-4D08-B41A-637C10A318E4}" destId="{01917046-0DFB-427D-B9F3-3BC1CA0D9AF3}" srcOrd="0" destOrd="0" presId="urn:microsoft.com/office/officeart/2005/8/layout/chevron2"/>
    <dgm:cxn modelId="{5BEC6AB7-4A70-4532-A335-753AD8979148}" type="presOf" srcId="{79F2532A-5FC8-44C8-9AE3-2F5FDB97ADC4}" destId="{993CD54B-31E9-4247-A6F2-BF5629E2C43E}" srcOrd="0" destOrd="1" presId="urn:microsoft.com/office/officeart/2005/8/layout/chevron2"/>
    <dgm:cxn modelId="{FF58B469-AE23-4E55-A15B-4746175859F5}" srcId="{3DD73726-4F2A-494C-91FF-A24AF28970E1}" destId="{54CE03E6-2A81-476E-AAB4-E7AF317A2ABB}" srcOrd="2" destOrd="0" parTransId="{1583ED7D-962E-47E0-BF05-633A5FC3E930}" sibTransId="{D63A5B68-79B3-4CEE-A492-57CE791F0B87}"/>
    <dgm:cxn modelId="{653C6D50-975B-45ED-B163-9B5B64AC4F4F}" srcId="{3DD73726-4F2A-494C-91FF-A24AF28970E1}" destId="{BFF4C455-E24B-4D08-B41A-637C10A318E4}" srcOrd="0" destOrd="0" parTransId="{0B66D12E-E018-4031-8A7F-EA24D0D5519E}" sibTransId="{764D4991-60B6-4552-93C0-38BC19D028BB}"/>
    <dgm:cxn modelId="{C349236D-3BDD-40D2-BF35-C6B65BD53700}" srcId="{DE7B151A-E5A6-400C-98C0-F6EADA47911B}" destId="{5B65EEE1-AF2A-4994-85AF-29A8B7BE4BA0}" srcOrd="0" destOrd="0" parTransId="{CA0C2A98-8193-440A-B785-FB55436E75DE}" sibTransId="{51E8AB76-4EB5-40F0-8318-0D90B8B6AEBB}"/>
    <dgm:cxn modelId="{386ACDBF-B03D-49A7-A4AF-0FDEB029FE40}" type="presOf" srcId="{5B65EEE1-AF2A-4994-85AF-29A8B7BE4BA0}" destId="{993CD54B-31E9-4247-A6F2-BF5629E2C43E}" srcOrd="0" destOrd="0" presId="urn:microsoft.com/office/officeart/2005/8/layout/chevron2"/>
    <dgm:cxn modelId="{4FE9EE83-F636-4F6F-A83C-33541181D6AB}" srcId="{3DD73726-4F2A-494C-91FF-A24AF28970E1}" destId="{D1943060-CC19-446E-AFE6-A552C1F2A33E}" srcOrd="3" destOrd="0" parTransId="{A68D7B64-481A-4B18-960D-D901D9F97BF0}" sibTransId="{BBB90BDA-58C8-4B4B-BC75-AD5AC57000BC}"/>
    <dgm:cxn modelId="{4FD50025-6876-4E9C-92A4-C92C25148FF6}" type="presOf" srcId="{754AC692-2428-4622-813D-88E86C14548E}" destId="{3AE30E03-09E5-4CE4-8BBB-6B84C45066BB}" srcOrd="0" destOrd="0" presId="urn:microsoft.com/office/officeart/2005/8/layout/chevron2"/>
    <dgm:cxn modelId="{BB46DD7A-C42D-4990-9F70-A7C55D3EBE05}" srcId="{754AC692-2428-4622-813D-88E86C14548E}" destId="{3DD73726-4F2A-494C-91FF-A24AF28970E1}" srcOrd="0" destOrd="0" parTransId="{2329FDCD-6BFD-4C66-9FB3-CA81DB051989}" sibTransId="{D3CBB59C-35B3-4DCB-9528-73337A497A3E}"/>
    <dgm:cxn modelId="{F347B3D0-4AE1-4A33-B8CB-17CFC5BD8B25}" srcId="{DE7B151A-E5A6-400C-98C0-F6EADA47911B}" destId="{79F2532A-5FC8-44C8-9AE3-2F5FDB97ADC4}" srcOrd="1" destOrd="0" parTransId="{1002D0BE-C9FE-4B09-A315-CF51AF4FE37A}" sibTransId="{88EDC850-C4AE-425A-8BD8-A3A5CD42F3C8}"/>
    <dgm:cxn modelId="{5700F818-D294-44CE-8185-6F4A8EDA5C86}" type="presOf" srcId="{FA5E9292-24F2-4C29-9DD5-1018015A5AF0}" destId="{807AC81E-4FAB-4CC7-97DA-5E347E952798}" srcOrd="0" destOrd="0" presId="urn:microsoft.com/office/officeart/2005/8/layout/chevron2"/>
    <dgm:cxn modelId="{E1850645-A971-4590-8951-9E6BB7F9073A}" type="presOf" srcId="{D7BC27B4-75E6-4F60-8D04-B20EAF12C637}" destId="{01917046-0DFB-427D-B9F3-3BC1CA0D9AF3}" srcOrd="0" destOrd="1" presId="urn:microsoft.com/office/officeart/2005/8/layout/chevron2"/>
    <dgm:cxn modelId="{A1AB8803-AA3E-486F-ABE1-DC84644E8C6E}" srcId="{754AC692-2428-4622-813D-88E86C14548E}" destId="{DE7B151A-E5A6-400C-98C0-F6EADA47911B}" srcOrd="1" destOrd="0" parTransId="{529FA029-56D3-40E7-9326-B6B5052534ED}" sibTransId="{8ABD0C64-276C-496C-A314-54D89E8EFFE6}"/>
    <dgm:cxn modelId="{AC2727F6-F171-4DEA-9B94-2FC2FD8EEEA2}" type="presOf" srcId="{F74E53C0-F234-4C8E-9EF4-BD45BEBF39D9}" destId="{ADF7980A-CBA1-443E-B533-6B9F18720D76}" srcOrd="0" destOrd="1" presId="urn:microsoft.com/office/officeart/2005/8/layout/chevron2"/>
    <dgm:cxn modelId="{D00DDF2B-8D73-4E59-AE1A-D4D65F2F9916}" type="presOf" srcId="{92D3BCB7-B3BB-4341-9744-14FDEAB1CFE1}" destId="{ADF7980A-CBA1-443E-B533-6B9F18720D76}" srcOrd="0" destOrd="0" presId="urn:microsoft.com/office/officeart/2005/8/layout/chevron2"/>
    <dgm:cxn modelId="{9184E625-CD10-4866-A4FD-D4810D131310}" type="presOf" srcId="{3DD73726-4F2A-494C-91FF-A24AF28970E1}" destId="{B846E813-1C06-41AE-9859-C670D4A448CB}" srcOrd="0" destOrd="0" presId="urn:microsoft.com/office/officeart/2005/8/layout/chevron2"/>
    <dgm:cxn modelId="{D984B131-B6B3-428C-9CD6-36BF98309E5A}" type="presParOf" srcId="{3AE30E03-09E5-4CE4-8BBB-6B84C45066BB}" destId="{67FBDDDC-D806-4424-9876-3A224F0FE6E4}" srcOrd="0" destOrd="0" presId="urn:microsoft.com/office/officeart/2005/8/layout/chevron2"/>
    <dgm:cxn modelId="{B96D6C01-9C09-4811-BDCB-6205796B933A}" type="presParOf" srcId="{67FBDDDC-D806-4424-9876-3A224F0FE6E4}" destId="{B846E813-1C06-41AE-9859-C670D4A448CB}" srcOrd="0" destOrd="0" presId="urn:microsoft.com/office/officeart/2005/8/layout/chevron2"/>
    <dgm:cxn modelId="{ADE348DE-72E5-469D-8671-941F436395E5}" type="presParOf" srcId="{67FBDDDC-D806-4424-9876-3A224F0FE6E4}" destId="{01917046-0DFB-427D-B9F3-3BC1CA0D9AF3}" srcOrd="1" destOrd="0" presId="urn:microsoft.com/office/officeart/2005/8/layout/chevron2"/>
    <dgm:cxn modelId="{486CC627-10CF-46AC-A7D8-04F3080BE4C5}" type="presParOf" srcId="{3AE30E03-09E5-4CE4-8BBB-6B84C45066BB}" destId="{A6D80F42-1F6F-4A90-A915-A6C0F5B8745D}" srcOrd="1" destOrd="0" presId="urn:microsoft.com/office/officeart/2005/8/layout/chevron2"/>
    <dgm:cxn modelId="{96226EFF-B306-48F6-8BE1-39FD2BE1DDA1}" type="presParOf" srcId="{3AE30E03-09E5-4CE4-8BBB-6B84C45066BB}" destId="{0CF32E6C-CD9E-4A69-95EB-66D9FA611AC9}" srcOrd="2" destOrd="0" presId="urn:microsoft.com/office/officeart/2005/8/layout/chevron2"/>
    <dgm:cxn modelId="{3C24141A-85D7-4100-BAE2-7D43B5C2F016}" type="presParOf" srcId="{0CF32E6C-CD9E-4A69-95EB-66D9FA611AC9}" destId="{90CBEB65-72DB-4FB3-B93A-4694ED352299}" srcOrd="0" destOrd="0" presId="urn:microsoft.com/office/officeart/2005/8/layout/chevron2"/>
    <dgm:cxn modelId="{6A0C56FE-64A4-4C72-9AAF-F8E494030D86}" type="presParOf" srcId="{0CF32E6C-CD9E-4A69-95EB-66D9FA611AC9}" destId="{993CD54B-31E9-4247-A6F2-BF5629E2C43E}" srcOrd="1" destOrd="0" presId="urn:microsoft.com/office/officeart/2005/8/layout/chevron2"/>
    <dgm:cxn modelId="{E823A5DC-CB07-416A-956E-16780BC710C9}" type="presParOf" srcId="{3AE30E03-09E5-4CE4-8BBB-6B84C45066BB}" destId="{496BBD39-1257-4D95-B637-8DFD2C3F6E1C}" srcOrd="3" destOrd="0" presId="urn:microsoft.com/office/officeart/2005/8/layout/chevron2"/>
    <dgm:cxn modelId="{F319634E-C59B-4294-9515-E9D889FF1387}" type="presParOf" srcId="{3AE30E03-09E5-4CE4-8BBB-6B84C45066BB}" destId="{C3DCC23E-1D0F-4FE3-830D-A6822E6C4A88}" srcOrd="4" destOrd="0" presId="urn:microsoft.com/office/officeart/2005/8/layout/chevron2"/>
    <dgm:cxn modelId="{694E5726-34F9-4ACA-832F-6D9844C41E94}" type="presParOf" srcId="{C3DCC23E-1D0F-4FE3-830D-A6822E6C4A88}" destId="{807AC81E-4FAB-4CC7-97DA-5E347E952798}" srcOrd="0" destOrd="0" presId="urn:microsoft.com/office/officeart/2005/8/layout/chevron2"/>
    <dgm:cxn modelId="{65798010-DAF5-4362-96A7-07CD04EEB745}" type="presParOf" srcId="{C3DCC23E-1D0F-4FE3-830D-A6822E6C4A88}" destId="{ADF7980A-CBA1-443E-B533-6B9F18720D7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AEA4026-3F3C-4F19-BFD6-EAA4A0BA4827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764AEFD5-358D-4690-BFE3-CEA700BAC41B}">
      <dgm:prSet phldrT="[Tekst]" custT="1"/>
      <dgm:spPr>
        <a:solidFill>
          <a:schemeClr val="accent2"/>
        </a:solidFill>
      </dgm:spPr>
      <dgm:t>
        <a:bodyPr/>
        <a:lstStyle/>
        <a:p>
          <a:r>
            <a:rPr lang="nl-NL" sz="2400" dirty="0">
              <a:solidFill>
                <a:srgbClr val="000065"/>
              </a:solidFill>
              <a:latin typeface="Cambria" panose="02040503050406030204" pitchFamily="18" charset="0"/>
            </a:rPr>
            <a:t>Motorische Klachten</a:t>
          </a:r>
        </a:p>
      </dgm:t>
    </dgm:pt>
    <dgm:pt modelId="{B375FF35-E2A3-41A0-9B02-8375C28E97F4}" type="parTrans" cxnId="{3FFD90F4-09F1-4CE2-9810-C1D89BCFD707}">
      <dgm:prSet/>
      <dgm:spPr/>
      <dgm:t>
        <a:bodyPr/>
        <a:lstStyle/>
        <a:p>
          <a:endParaRPr lang="nl-NL"/>
        </a:p>
      </dgm:t>
    </dgm:pt>
    <dgm:pt modelId="{99E365F3-1BD8-4E7B-808F-2864D7B5DC41}" type="sibTrans" cxnId="{3FFD90F4-09F1-4CE2-9810-C1D89BCFD707}">
      <dgm:prSet/>
      <dgm:spPr/>
      <dgm:t>
        <a:bodyPr/>
        <a:lstStyle/>
        <a:p>
          <a:endParaRPr lang="nl-NL"/>
        </a:p>
      </dgm:t>
    </dgm:pt>
    <dgm:pt modelId="{A4E25E1F-AA20-478F-A323-CF7565D1D121}">
      <dgm:prSet phldrT="[Tekst]" custT="1"/>
      <dgm:spPr>
        <a:solidFill>
          <a:schemeClr val="accent2"/>
        </a:solidFill>
      </dgm:spPr>
      <dgm:t>
        <a:bodyPr/>
        <a:lstStyle/>
        <a:p>
          <a:r>
            <a:rPr lang="nl-NL" sz="2400" dirty="0">
              <a:solidFill>
                <a:srgbClr val="000065"/>
              </a:solidFill>
              <a:latin typeface="Cambria" panose="02040503050406030204" pitchFamily="18" charset="0"/>
            </a:rPr>
            <a:t>Stemming</a:t>
          </a:r>
          <a:endParaRPr lang="nl-NL" sz="3000" dirty="0">
            <a:solidFill>
              <a:srgbClr val="000065"/>
            </a:solidFill>
            <a:latin typeface="Cambria" panose="02040503050406030204" pitchFamily="18" charset="0"/>
          </a:endParaRPr>
        </a:p>
      </dgm:t>
    </dgm:pt>
    <dgm:pt modelId="{145EB4C2-2380-439B-A463-F43451CC6AB5}" type="parTrans" cxnId="{762F0163-E4EB-4D8A-BA88-910BBEA08EE1}">
      <dgm:prSet/>
      <dgm:spPr/>
      <dgm:t>
        <a:bodyPr/>
        <a:lstStyle/>
        <a:p>
          <a:endParaRPr lang="nl-NL"/>
        </a:p>
      </dgm:t>
    </dgm:pt>
    <dgm:pt modelId="{57164965-D5B9-48F0-882B-CF483BDC1852}" type="sibTrans" cxnId="{762F0163-E4EB-4D8A-BA88-910BBEA08EE1}">
      <dgm:prSet/>
      <dgm:spPr/>
      <dgm:t>
        <a:bodyPr/>
        <a:lstStyle/>
        <a:p>
          <a:endParaRPr lang="nl-NL"/>
        </a:p>
      </dgm:t>
    </dgm:pt>
    <dgm:pt modelId="{F15DA20F-B689-4AA5-B22E-3D6E0869D82B}">
      <dgm:prSet phldrT="[Tekst]" custT="1"/>
      <dgm:spPr>
        <a:solidFill>
          <a:schemeClr val="accent2"/>
        </a:solidFill>
      </dgm:spPr>
      <dgm:t>
        <a:bodyPr/>
        <a:lstStyle/>
        <a:p>
          <a:r>
            <a:rPr lang="nl-NL" sz="2400" dirty="0">
              <a:solidFill>
                <a:srgbClr val="000065"/>
              </a:solidFill>
              <a:latin typeface="Cambria" panose="02040503050406030204" pitchFamily="18" charset="0"/>
            </a:rPr>
            <a:t>Beloning</a:t>
          </a:r>
          <a:r>
            <a:rPr lang="nl-NL" sz="3000" dirty="0">
              <a:solidFill>
                <a:srgbClr val="FF0000"/>
              </a:solidFill>
            </a:rPr>
            <a:t> </a:t>
          </a:r>
        </a:p>
      </dgm:t>
    </dgm:pt>
    <dgm:pt modelId="{C248E462-3EED-476F-AA98-81F2E9E8727B}" type="parTrans" cxnId="{605EB84B-D150-4C6A-AED2-D3DDFFD6F02E}">
      <dgm:prSet/>
      <dgm:spPr/>
      <dgm:t>
        <a:bodyPr/>
        <a:lstStyle/>
        <a:p>
          <a:endParaRPr lang="nl-NL"/>
        </a:p>
      </dgm:t>
    </dgm:pt>
    <dgm:pt modelId="{2979919D-3735-43CB-9ACC-D4CE029632E7}" type="sibTrans" cxnId="{605EB84B-D150-4C6A-AED2-D3DDFFD6F02E}">
      <dgm:prSet/>
      <dgm:spPr/>
      <dgm:t>
        <a:bodyPr/>
        <a:lstStyle/>
        <a:p>
          <a:endParaRPr lang="nl-NL"/>
        </a:p>
      </dgm:t>
    </dgm:pt>
    <dgm:pt modelId="{950CDCC0-F58A-4B66-9A5C-A0FEC8BA3FB2}" type="pres">
      <dgm:prSet presAssocID="{8AEA4026-3F3C-4F19-BFD6-EAA4A0BA4827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nl-NL"/>
        </a:p>
      </dgm:t>
    </dgm:pt>
    <dgm:pt modelId="{52C61787-2D9F-4908-B07C-72A94899C628}" type="pres">
      <dgm:prSet presAssocID="{764AEFD5-358D-4690-BFE3-CEA700BAC41B}" presName="node" presStyleLbl="node1" presStyleIdx="0" presStyleCnt="3" custRadScaleRad="92289" custRadScaleInc="0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CCCDC467-747E-44B5-978A-D1EEE1726F52}" type="pres">
      <dgm:prSet presAssocID="{99E365F3-1BD8-4E7B-808F-2864D7B5DC41}" presName="sibTrans" presStyleLbl="sibTrans2D1" presStyleIdx="0" presStyleCnt="3" custLinFactNeighborX="2119" custLinFactNeighborY="-52782"/>
      <dgm:spPr/>
      <dgm:t>
        <a:bodyPr/>
        <a:lstStyle/>
        <a:p>
          <a:endParaRPr lang="nl-NL"/>
        </a:p>
      </dgm:t>
    </dgm:pt>
    <dgm:pt modelId="{5207EEEC-E56D-4D4D-9E6E-4AFDA2E92E8F}" type="pres">
      <dgm:prSet presAssocID="{99E365F3-1BD8-4E7B-808F-2864D7B5DC41}" presName="connectorText" presStyleLbl="sibTrans2D1" presStyleIdx="0" presStyleCnt="3"/>
      <dgm:spPr/>
      <dgm:t>
        <a:bodyPr/>
        <a:lstStyle/>
        <a:p>
          <a:endParaRPr lang="nl-NL"/>
        </a:p>
      </dgm:t>
    </dgm:pt>
    <dgm:pt modelId="{2EEA1849-D615-4969-929D-8FC03822A7DB}" type="pres">
      <dgm:prSet presAssocID="{A4E25E1F-AA20-478F-A323-CF7565D1D121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32B7912A-73D4-432A-8271-B37262BA3D17}" type="pres">
      <dgm:prSet presAssocID="{57164965-D5B9-48F0-882B-CF483BDC1852}" presName="sibTrans" presStyleLbl="sibTrans2D1" presStyleIdx="1" presStyleCnt="3"/>
      <dgm:spPr/>
      <dgm:t>
        <a:bodyPr/>
        <a:lstStyle/>
        <a:p>
          <a:endParaRPr lang="nl-NL"/>
        </a:p>
      </dgm:t>
    </dgm:pt>
    <dgm:pt modelId="{72489934-37D4-4B2B-A0C1-A6B3A8ABE489}" type="pres">
      <dgm:prSet presAssocID="{57164965-D5B9-48F0-882B-CF483BDC1852}" presName="connectorText" presStyleLbl="sibTrans2D1" presStyleIdx="1" presStyleCnt="3"/>
      <dgm:spPr/>
      <dgm:t>
        <a:bodyPr/>
        <a:lstStyle/>
        <a:p>
          <a:endParaRPr lang="nl-NL"/>
        </a:p>
      </dgm:t>
    </dgm:pt>
    <dgm:pt modelId="{A91C333D-DA36-407C-ACBC-C2F644D33578}" type="pres">
      <dgm:prSet presAssocID="{F15DA20F-B689-4AA5-B22E-3D6E0869D82B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E8E19C74-F4F6-4210-B658-CF3A5D2910D5}" type="pres">
      <dgm:prSet presAssocID="{2979919D-3735-43CB-9ACC-D4CE029632E7}" presName="sibTrans" presStyleLbl="sibTrans2D1" presStyleIdx="2" presStyleCnt="3" custLinFactNeighborX="-399" custLinFactNeighborY="-48093"/>
      <dgm:spPr/>
      <dgm:t>
        <a:bodyPr/>
        <a:lstStyle/>
        <a:p>
          <a:endParaRPr lang="nl-NL"/>
        </a:p>
      </dgm:t>
    </dgm:pt>
    <dgm:pt modelId="{72FA7615-0643-47DB-ADCF-54AE8983803A}" type="pres">
      <dgm:prSet presAssocID="{2979919D-3735-43CB-9ACC-D4CE029632E7}" presName="connectorText" presStyleLbl="sibTrans2D1" presStyleIdx="2" presStyleCnt="3"/>
      <dgm:spPr/>
      <dgm:t>
        <a:bodyPr/>
        <a:lstStyle/>
        <a:p>
          <a:endParaRPr lang="nl-NL"/>
        </a:p>
      </dgm:t>
    </dgm:pt>
  </dgm:ptLst>
  <dgm:cxnLst>
    <dgm:cxn modelId="{F7A20020-069E-4394-9990-FAD22D368885}" type="presOf" srcId="{99E365F3-1BD8-4E7B-808F-2864D7B5DC41}" destId="{5207EEEC-E56D-4D4D-9E6E-4AFDA2E92E8F}" srcOrd="1" destOrd="0" presId="urn:microsoft.com/office/officeart/2005/8/layout/cycle7"/>
    <dgm:cxn modelId="{605EB84B-D150-4C6A-AED2-D3DDFFD6F02E}" srcId="{8AEA4026-3F3C-4F19-BFD6-EAA4A0BA4827}" destId="{F15DA20F-B689-4AA5-B22E-3D6E0869D82B}" srcOrd="2" destOrd="0" parTransId="{C248E462-3EED-476F-AA98-81F2E9E8727B}" sibTransId="{2979919D-3735-43CB-9ACC-D4CE029632E7}"/>
    <dgm:cxn modelId="{762F0163-E4EB-4D8A-BA88-910BBEA08EE1}" srcId="{8AEA4026-3F3C-4F19-BFD6-EAA4A0BA4827}" destId="{A4E25E1F-AA20-478F-A323-CF7565D1D121}" srcOrd="1" destOrd="0" parTransId="{145EB4C2-2380-439B-A463-F43451CC6AB5}" sibTransId="{57164965-D5B9-48F0-882B-CF483BDC1852}"/>
    <dgm:cxn modelId="{3FFD90F4-09F1-4CE2-9810-C1D89BCFD707}" srcId="{8AEA4026-3F3C-4F19-BFD6-EAA4A0BA4827}" destId="{764AEFD5-358D-4690-BFE3-CEA700BAC41B}" srcOrd="0" destOrd="0" parTransId="{B375FF35-E2A3-41A0-9B02-8375C28E97F4}" sibTransId="{99E365F3-1BD8-4E7B-808F-2864D7B5DC41}"/>
    <dgm:cxn modelId="{16C53976-FD30-4671-AB1C-384414FBF566}" type="presOf" srcId="{8AEA4026-3F3C-4F19-BFD6-EAA4A0BA4827}" destId="{950CDCC0-F58A-4B66-9A5C-A0FEC8BA3FB2}" srcOrd="0" destOrd="0" presId="urn:microsoft.com/office/officeart/2005/8/layout/cycle7"/>
    <dgm:cxn modelId="{E167821D-7442-4C95-A219-0877BADEF9DF}" type="presOf" srcId="{2979919D-3735-43CB-9ACC-D4CE029632E7}" destId="{72FA7615-0643-47DB-ADCF-54AE8983803A}" srcOrd="1" destOrd="0" presId="urn:microsoft.com/office/officeart/2005/8/layout/cycle7"/>
    <dgm:cxn modelId="{DADC5A78-7B0D-4211-87DC-DB5C9D66F1AC}" type="presOf" srcId="{99E365F3-1BD8-4E7B-808F-2864D7B5DC41}" destId="{CCCDC467-747E-44B5-978A-D1EEE1726F52}" srcOrd="0" destOrd="0" presId="urn:microsoft.com/office/officeart/2005/8/layout/cycle7"/>
    <dgm:cxn modelId="{B2D0F7EF-7452-4E28-87B1-16C4381D944B}" type="presOf" srcId="{2979919D-3735-43CB-9ACC-D4CE029632E7}" destId="{E8E19C74-F4F6-4210-B658-CF3A5D2910D5}" srcOrd="0" destOrd="0" presId="urn:microsoft.com/office/officeart/2005/8/layout/cycle7"/>
    <dgm:cxn modelId="{18E588D1-05B7-4AEA-AAD9-1D0D0CDC7DCC}" type="presOf" srcId="{764AEFD5-358D-4690-BFE3-CEA700BAC41B}" destId="{52C61787-2D9F-4908-B07C-72A94899C628}" srcOrd="0" destOrd="0" presId="urn:microsoft.com/office/officeart/2005/8/layout/cycle7"/>
    <dgm:cxn modelId="{CC88CD5C-7A9E-46EC-9CED-6D48FFBD41B4}" type="presOf" srcId="{A4E25E1F-AA20-478F-A323-CF7565D1D121}" destId="{2EEA1849-D615-4969-929D-8FC03822A7DB}" srcOrd="0" destOrd="0" presId="urn:microsoft.com/office/officeart/2005/8/layout/cycle7"/>
    <dgm:cxn modelId="{F3D78103-D42E-4B87-B794-312AB4E6D7B8}" type="presOf" srcId="{F15DA20F-B689-4AA5-B22E-3D6E0869D82B}" destId="{A91C333D-DA36-407C-ACBC-C2F644D33578}" srcOrd="0" destOrd="0" presId="urn:microsoft.com/office/officeart/2005/8/layout/cycle7"/>
    <dgm:cxn modelId="{602CA38B-E7FE-4057-91D1-DDB1C1317CBD}" type="presOf" srcId="{57164965-D5B9-48F0-882B-CF483BDC1852}" destId="{72489934-37D4-4B2B-A0C1-A6B3A8ABE489}" srcOrd="1" destOrd="0" presId="urn:microsoft.com/office/officeart/2005/8/layout/cycle7"/>
    <dgm:cxn modelId="{FAEB52CB-5582-4084-9738-7BA02492DA40}" type="presOf" srcId="{57164965-D5B9-48F0-882B-CF483BDC1852}" destId="{32B7912A-73D4-432A-8271-B37262BA3D17}" srcOrd="0" destOrd="0" presId="urn:microsoft.com/office/officeart/2005/8/layout/cycle7"/>
    <dgm:cxn modelId="{4F7C8717-96F7-4973-A4A0-F397A9679345}" type="presParOf" srcId="{950CDCC0-F58A-4B66-9A5C-A0FEC8BA3FB2}" destId="{52C61787-2D9F-4908-B07C-72A94899C628}" srcOrd="0" destOrd="0" presId="urn:microsoft.com/office/officeart/2005/8/layout/cycle7"/>
    <dgm:cxn modelId="{CB2EF10A-87D3-4408-96AD-425C5AE6B292}" type="presParOf" srcId="{950CDCC0-F58A-4B66-9A5C-A0FEC8BA3FB2}" destId="{CCCDC467-747E-44B5-978A-D1EEE1726F52}" srcOrd="1" destOrd="0" presId="urn:microsoft.com/office/officeart/2005/8/layout/cycle7"/>
    <dgm:cxn modelId="{E1756D58-7C8E-4CCF-87E9-9792E3841248}" type="presParOf" srcId="{CCCDC467-747E-44B5-978A-D1EEE1726F52}" destId="{5207EEEC-E56D-4D4D-9E6E-4AFDA2E92E8F}" srcOrd="0" destOrd="0" presId="urn:microsoft.com/office/officeart/2005/8/layout/cycle7"/>
    <dgm:cxn modelId="{71DD737F-90A3-496F-AC01-BBEE7A819053}" type="presParOf" srcId="{950CDCC0-F58A-4B66-9A5C-A0FEC8BA3FB2}" destId="{2EEA1849-D615-4969-929D-8FC03822A7DB}" srcOrd="2" destOrd="0" presId="urn:microsoft.com/office/officeart/2005/8/layout/cycle7"/>
    <dgm:cxn modelId="{A2EDC14C-3CA7-4FC8-B869-C98B58C4F9C6}" type="presParOf" srcId="{950CDCC0-F58A-4B66-9A5C-A0FEC8BA3FB2}" destId="{32B7912A-73D4-432A-8271-B37262BA3D17}" srcOrd="3" destOrd="0" presId="urn:microsoft.com/office/officeart/2005/8/layout/cycle7"/>
    <dgm:cxn modelId="{87084109-6927-492D-8D3D-093488749F9C}" type="presParOf" srcId="{32B7912A-73D4-432A-8271-B37262BA3D17}" destId="{72489934-37D4-4B2B-A0C1-A6B3A8ABE489}" srcOrd="0" destOrd="0" presId="urn:microsoft.com/office/officeart/2005/8/layout/cycle7"/>
    <dgm:cxn modelId="{D0D0D986-5CC0-4569-BD06-86D4E7B9EC6C}" type="presParOf" srcId="{950CDCC0-F58A-4B66-9A5C-A0FEC8BA3FB2}" destId="{A91C333D-DA36-407C-ACBC-C2F644D33578}" srcOrd="4" destOrd="0" presId="urn:microsoft.com/office/officeart/2005/8/layout/cycle7"/>
    <dgm:cxn modelId="{4E2E648A-24A9-4D47-8BDF-4D6BF95442A0}" type="presParOf" srcId="{950CDCC0-F58A-4B66-9A5C-A0FEC8BA3FB2}" destId="{E8E19C74-F4F6-4210-B658-CF3A5D2910D5}" srcOrd="5" destOrd="0" presId="urn:microsoft.com/office/officeart/2005/8/layout/cycle7"/>
    <dgm:cxn modelId="{78AE6397-7D21-4037-BEA5-247CE04CE4E1}" type="presParOf" srcId="{E8E19C74-F4F6-4210-B658-CF3A5D2910D5}" destId="{72FA7615-0643-47DB-ADCF-54AE8983803A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ECE67D-236E-4BE1-B3B8-412645C260C8}">
      <dsp:nvSpPr>
        <dsp:cNvPr id="0" name=""/>
        <dsp:cNvSpPr/>
      </dsp:nvSpPr>
      <dsp:spPr>
        <a:xfrm>
          <a:off x="2668966" y="275370"/>
          <a:ext cx="1490820" cy="745410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000" kern="1200" dirty="0">
              <a:solidFill>
                <a:srgbClr val="002060"/>
              </a:solidFill>
              <a:latin typeface="Cambria" panose="02040503050406030204" pitchFamily="18" charset="0"/>
            </a:rPr>
            <a:t>Parkinson Patiënt</a:t>
          </a:r>
        </a:p>
      </dsp:txBody>
      <dsp:txXfrm>
        <a:off x="2690798" y="297202"/>
        <a:ext cx="1447156" cy="701746"/>
      </dsp:txXfrm>
    </dsp:sp>
    <dsp:sp modelId="{C48F50CB-A4DD-4F1E-BF6A-6D3D52EDC526}">
      <dsp:nvSpPr>
        <dsp:cNvPr id="0" name=""/>
        <dsp:cNvSpPr/>
      </dsp:nvSpPr>
      <dsp:spPr>
        <a:xfrm rot="3378073">
          <a:off x="3935284" y="1345724"/>
          <a:ext cx="756672" cy="260893"/>
        </a:xfrm>
        <a:prstGeom prst="leftRightArrow">
          <a:avLst>
            <a:gd name="adj1" fmla="val 60000"/>
            <a:gd name="adj2" fmla="val 50000"/>
          </a:avLst>
        </a:prstGeom>
        <a:solidFill>
          <a:srgbClr val="00006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100" kern="1200" dirty="0"/>
        </a:p>
      </dsp:txBody>
      <dsp:txXfrm>
        <a:off x="4013552" y="1397903"/>
        <a:ext cx="600136" cy="156535"/>
      </dsp:txXfrm>
    </dsp:sp>
    <dsp:sp modelId="{770C93DD-14FC-40F2-9860-0D3E99B0E679}">
      <dsp:nvSpPr>
        <dsp:cNvPr id="0" name=""/>
        <dsp:cNvSpPr/>
      </dsp:nvSpPr>
      <dsp:spPr>
        <a:xfrm>
          <a:off x="3845485" y="2039566"/>
          <a:ext cx="1490820" cy="745410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000" kern="1200" dirty="0">
              <a:solidFill>
                <a:srgbClr val="002060"/>
              </a:solidFill>
              <a:latin typeface="Cambria" panose="02040503050406030204" pitchFamily="18" charset="0"/>
            </a:rPr>
            <a:t>Neuroloog</a:t>
          </a:r>
        </a:p>
      </dsp:txBody>
      <dsp:txXfrm>
        <a:off x="3867317" y="2061398"/>
        <a:ext cx="1447156" cy="701746"/>
      </dsp:txXfrm>
    </dsp:sp>
    <dsp:sp modelId="{28E45D04-017E-435F-8404-CDB0C4BA343F}">
      <dsp:nvSpPr>
        <dsp:cNvPr id="0" name=""/>
        <dsp:cNvSpPr/>
      </dsp:nvSpPr>
      <dsp:spPr>
        <a:xfrm rot="10800009">
          <a:off x="2988273" y="2281827"/>
          <a:ext cx="756672" cy="260893"/>
        </a:xfrm>
        <a:prstGeom prst="leftRightArrow">
          <a:avLst>
            <a:gd name="adj1" fmla="val 60000"/>
            <a:gd name="adj2" fmla="val 50000"/>
          </a:avLst>
        </a:prstGeom>
        <a:solidFill>
          <a:srgbClr val="1D317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100" kern="1200" dirty="0"/>
        </a:p>
      </dsp:txBody>
      <dsp:txXfrm rot="10800000">
        <a:off x="3066541" y="2334006"/>
        <a:ext cx="600136" cy="156535"/>
      </dsp:txXfrm>
    </dsp:sp>
    <dsp:sp modelId="{BE568D80-519D-4E69-B44E-C31236F0BBE1}">
      <dsp:nvSpPr>
        <dsp:cNvPr id="0" name=""/>
        <dsp:cNvSpPr/>
      </dsp:nvSpPr>
      <dsp:spPr>
        <a:xfrm>
          <a:off x="1408823" y="2039560"/>
          <a:ext cx="1490820" cy="745410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000" b="0" kern="1200" dirty="0">
              <a:solidFill>
                <a:srgbClr val="002060"/>
              </a:solidFill>
              <a:latin typeface="Cambria" panose="02040503050406030204" pitchFamily="18" charset="0"/>
            </a:rPr>
            <a:t>Apotheker</a:t>
          </a:r>
        </a:p>
      </dsp:txBody>
      <dsp:txXfrm>
        <a:off x="1430655" y="2061392"/>
        <a:ext cx="1447156" cy="701746"/>
      </dsp:txXfrm>
    </dsp:sp>
    <dsp:sp modelId="{C3868FAC-1AF1-4F88-8653-42E5A9D07369}">
      <dsp:nvSpPr>
        <dsp:cNvPr id="0" name=""/>
        <dsp:cNvSpPr/>
      </dsp:nvSpPr>
      <dsp:spPr>
        <a:xfrm rot="18332271">
          <a:off x="2073971" y="1345719"/>
          <a:ext cx="756672" cy="260893"/>
        </a:xfrm>
        <a:prstGeom prst="leftRightArrow">
          <a:avLst>
            <a:gd name="adj1" fmla="val 60000"/>
            <a:gd name="adj2" fmla="val 50000"/>
          </a:avLst>
        </a:prstGeom>
        <a:solidFill>
          <a:srgbClr val="1D317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100" kern="1200" dirty="0"/>
        </a:p>
      </dsp:txBody>
      <dsp:txXfrm>
        <a:off x="2152239" y="1397898"/>
        <a:ext cx="600136" cy="1565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46E813-1C06-41AE-9859-C670D4A448CB}">
      <dsp:nvSpPr>
        <dsp:cNvPr id="0" name=""/>
        <dsp:cNvSpPr/>
      </dsp:nvSpPr>
      <dsp:spPr>
        <a:xfrm rot="5400000">
          <a:off x="313886" y="-95077"/>
          <a:ext cx="1686471" cy="1876627"/>
        </a:xfrm>
        <a:prstGeom prst="chevron">
          <a:avLst/>
        </a:prstGeom>
        <a:solidFill>
          <a:srgbClr val="339933"/>
        </a:solidFill>
        <a:ln w="25400" cap="flat" cmpd="sng" algn="ctr">
          <a:solidFill>
            <a:srgbClr val="3399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800" b="1" kern="1200" dirty="0">
              <a:solidFill>
                <a:srgbClr val="002060"/>
              </a:solidFill>
              <a:latin typeface="Cambria" panose="02040503050406030204" pitchFamily="18" charset="0"/>
            </a:rPr>
            <a:t>Verbetering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800" b="1" kern="1200" dirty="0">
              <a:solidFill>
                <a:srgbClr val="002060"/>
              </a:solidFill>
              <a:latin typeface="Cambria" panose="02040503050406030204" pitchFamily="18" charset="0"/>
            </a:rPr>
            <a:t>Therapie Trouw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800" b="1" kern="1200" dirty="0">
            <a:solidFill>
              <a:srgbClr val="002060"/>
            </a:solidFill>
            <a:latin typeface="Cambria" panose="02040503050406030204" pitchFamily="18" charset="0"/>
          </a:endParaRPr>
        </a:p>
      </dsp:txBody>
      <dsp:txXfrm rot="-5400000">
        <a:off x="218808" y="1"/>
        <a:ext cx="1876627" cy="1686471"/>
      </dsp:txXfrm>
    </dsp:sp>
    <dsp:sp modelId="{01917046-0DFB-427D-B9F3-3BC1CA0D9AF3}">
      <dsp:nvSpPr>
        <dsp:cNvPr id="0" name=""/>
        <dsp:cNvSpPr/>
      </dsp:nvSpPr>
      <dsp:spPr>
        <a:xfrm rot="5400000">
          <a:off x="4472851" y="-2221180"/>
          <a:ext cx="1544314" cy="60718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D317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NL" sz="1800" kern="1200" dirty="0">
              <a:solidFill>
                <a:srgbClr val="002060"/>
              </a:solidFill>
              <a:latin typeface="Cambria" panose="02040503050406030204" pitchFamily="18" charset="0"/>
            </a:rPr>
            <a:t>Slechte therapie trouw gaat gepaard met een (mogelijk) slechtere prognose voor de patiënt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NL" sz="1800" kern="1200" dirty="0">
              <a:solidFill>
                <a:srgbClr val="002060"/>
              </a:solidFill>
              <a:latin typeface="Cambria" panose="02040503050406030204" pitchFamily="18" charset="0"/>
            </a:rPr>
            <a:t>Kost veel geld  !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NL" sz="1800" kern="1200" dirty="0">
              <a:solidFill>
                <a:srgbClr val="002060"/>
              </a:solidFill>
              <a:latin typeface="Cambria" panose="02040503050406030204" pitchFamily="18" charset="0"/>
            </a:rPr>
            <a:t>Onvoldoende Verbetering  Symptomen</a:t>
          </a:r>
        </a:p>
        <a:p>
          <a:pPr marL="285750" lvl="1" indent="-285750" algn="l" defTabSz="1333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nl-NL" sz="3000" kern="1200" dirty="0"/>
        </a:p>
      </dsp:txBody>
      <dsp:txXfrm rot="-5400000">
        <a:off x="2209097" y="117961"/>
        <a:ext cx="5996436" cy="1393540"/>
      </dsp:txXfrm>
    </dsp:sp>
    <dsp:sp modelId="{90CBEB65-72DB-4FB3-B93A-4694ED352299}">
      <dsp:nvSpPr>
        <dsp:cNvPr id="0" name=""/>
        <dsp:cNvSpPr/>
      </dsp:nvSpPr>
      <dsp:spPr>
        <a:xfrm rot="5400000">
          <a:off x="369661" y="1641947"/>
          <a:ext cx="1579472" cy="1897746"/>
        </a:xfrm>
        <a:prstGeom prst="chevron">
          <a:avLst/>
        </a:prstGeom>
        <a:solidFill>
          <a:srgbClr val="339933"/>
        </a:solidFill>
        <a:ln w="25400" cap="flat" cmpd="sng" algn="ctr">
          <a:solidFill>
            <a:srgbClr val="33993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800" b="1" kern="1200" dirty="0">
              <a:solidFill>
                <a:srgbClr val="002060"/>
              </a:solidFill>
              <a:latin typeface="Cambria" panose="02040503050406030204" pitchFamily="18" charset="0"/>
            </a:rPr>
            <a:t>Extra  Begeleiding  als Ziekte niet stabiel is!</a:t>
          </a:r>
          <a:endParaRPr lang="nl-NL" sz="1400" b="1" kern="1200" dirty="0">
            <a:solidFill>
              <a:srgbClr val="002060"/>
            </a:solidFill>
            <a:latin typeface="Cambria" panose="02040503050406030204" pitchFamily="18" charset="0"/>
          </a:endParaRPr>
        </a:p>
      </dsp:txBody>
      <dsp:txXfrm rot="-5400000">
        <a:off x="210524" y="1801084"/>
        <a:ext cx="1897746" cy="1579472"/>
      </dsp:txXfrm>
    </dsp:sp>
    <dsp:sp modelId="{993CD54B-31E9-4247-A6F2-BF5629E2C43E}">
      <dsp:nvSpPr>
        <dsp:cNvPr id="0" name=""/>
        <dsp:cNvSpPr/>
      </dsp:nvSpPr>
      <dsp:spPr>
        <a:xfrm rot="5400000">
          <a:off x="4676443" y="-711977"/>
          <a:ext cx="1137130" cy="60718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006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NL" sz="1800" kern="1200" dirty="0">
              <a:solidFill>
                <a:srgbClr val="002060"/>
              </a:solidFill>
              <a:latin typeface="Cambria" panose="02040503050406030204" pitchFamily="18" charset="0"/>
            </a:rPr>
            <a:t>Pak On/Off aan!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NL" sz="1800" kern="1200" dirty="0">
              <a:solidFill>
                <a:srgbClr val="002060"/>
              </a:solidFill>
              <a:latin typeface="Cambria" panose="02040503050406030204" pitchFamily="18" charset="0"/>
            </a:rPr>
            <a:t>Pak onwillekeurige bewegingen aan!</a:t>
          </a:r>
        </a:p>
      </dsp:txBody>
      <dsp:txXfrm rot="-5400000">
        <a:off x="2209097" y="1810879"/>
        <a:ext cx="6016313" cy="1026110"/>
      </dsp:txXfrm>
    </dsp:sp>
    <dsp:sp modelId="{807AC81E-4FAB-4CC7-97DA-5E347E952798}">
      <dsp:nvSpPr>
        <dsp:cNvPr id="0" name=""/>
        <dsp:cNvSpPr/>
      </dsp:nvSpPr>
      <dsp:spPr>
        <a:xfrm rot="5400000">
          <a:off x="342859" y="3182880"/>
          <a:ext cx="1577926" cy="1912823"/>
        </a:xfrm>
        <a:prstGeom prst="chevron">
          <a:avLst/>
        </a:prstGeom>
        <a:solidFill>
          <a:srgbClr val="339933"/>
        </a:solidFill>
        <a:ln w="25400" cap="flat" cmpd="sng" algn="ctr">
          <a:solidFill>
            <a:schemeClr val="accent5">
              <a:hueOff val="-6287314"/>
              <a:satOff val="-49180"/>
              <a:lumOff val="-5019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800" b="1" kern="1200" dirty="0">
              <a:solidFill>
                <a:srgbClr val="002060"/>
              </a:solidFill>
              <a:latin typeface="Cambria" panose="02040503050406030204" pitchFamily="18" charset="0"/>
            </a:rPr>
            <a:t>Motorische en Niet Motorische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800" b="1" kern="1200" dirty="0">
              <a:solidFill>
                <a:srgbClr val="002060"/>
              </a:solidFill>
              <a:latin typeface="Cambria" panose="02040503050406030204" pitchFamily="18" charset="0"/>
            </a:rPr>
            <a:t>Symptomen</a:t>
          </a:r>
        </a:p>
      </dsp:txBody>
      <dsp:txXfrm rot="-5400000">
        <a:off x="175411" y="3350328"/>
        <a:ext cx="1912823" cy="1577926"/>
      </dsp:txXfrm>
    </dsp:sp>
    <dsp:sp modelId="{ADF7980A-CBA1-443E-B533-6B9F18720D76}">
      <dsp:nvSpPr>
        <dsp:cNvPr id="0" name=""/>
        <dsp:cNvSpPr/>
      </dsp:nvSpPr>
      <dsp:spPr>
        <a:xfrm rot="5400000">
          <a:off x="4571293" y="1007810"/>
          <a:ext cx="1347430" cy="60718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D317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NL" sz="1800" kern="1200" dirty="0">
              <a:solidFill>
                <a:srgbClr val="002060"/>
              </a:solidFill>
              <a:latin typeface="Cambria" panose="02040503050406030204" pitchFamily="18" charset="0"/>
            </a:rPr>
            <a:t>Start op tijd met L-dopa !!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NL" sz="1800" kern="1200" dirty="0">
              <a:solidFill>
                <a:srgbClr val="002060"/>
              </a:solidFill>
              <a:latin typeface="Cambria" panose="02040503050406030204" pitchFamily="18" charset="0"/>
            </a:rPr>
            <a:t>Het starten met L-dopa of een dopamine agonist hangt niet af van de leeftijd, maar vooral van ziekte-ernst en co-morbiditeit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l-NL" sz="1800" kern="1200" dirty="0">
              <a:solidFill>
                <a:srgbClr val="002060"/>
              </a:solidFill>
              <a:latin typeface="Cambria" panose="02040503050406030204" pitchFamily="18" charset="0"/>
            </a:rPr>
            <a:t>Zorg ervoor dat de patiënt de </a:t>
          </a:r>
          <a:r>
            <a:rPr lang="nl-NL" sz="1800" b="1" i="1" kern="1200" dirty="0">
              <a:solidFill>
                <a:srgbClr val="002060"/>
              </a:solidFill>
              <a:latin typeface="Cambria" panose="02040503050406030204" pitchFamily="18" charset="0"/>
            </a:rPr>
            <a:t>nacht</a:t>
          </a:r>
          <a:r>
            <a:rPr lang="nl-NL" sz="1800" kern="1200" dirty="0">
              <a:solidFill>
                <a:srgbClr val="002060"/>
              </a:solidFill>
              <a:latin typeface="Cambria" panose="02040503050406030204" pitchFamily="18" charset="0"/>
            </a:rPr>
            <a:t> doorkomt!</a:t>
          </a:r>
        </a:p>
      </dsp:txBody>
      <dsp:txXfrm rot="-5400000">
        <a:off x="2209097" y="3435782"/>
        <a:ext cx="6006047" cy="12158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C61787-2D9F-4908-B07C-72A94899C628}">
      <dsp:nvSpPr>
        <dsp:cNvPr id="0" name=""/>
        <dsp:cNvSpPr/>
      </dsp:nvSpPr>
      <dsp:spPr>
        <a:xfrm>
          <a:off x="2636994" y="150072"/>
          <a:ext cx="2019143" cy="1009571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400" kern="1200" dirty="0">
              <a:solidFill>
                <a:srgbClr val="000065"/>
              </a:solidFill>
              <a:latin typeface="Cambria" panose="02040503050406030204" pitchFamily="18" charset="0"/>
            </a:rPr>
            <a:t>Motorische Klachten</a:t>
          </a:r>
        </a:p>
      </dsp:txBody>
      <dsp:txXfrm>
        <a:off x="2666563" y="179641"/>
        <a:ext cx="1960005" cy="950433"/>
      </dsp:txXfrm>
    </dsp:sp>
    <dsp:sp modelId="{CCCDC467-747E-44B5-978A-D1EEE1726F52}">
      <dsp:nvSpPr>
        <dsp:cNvPr id="0" name=""/>
        <dsp:cNvSpPr/>
      </dsp:nvSpPr>
      <dsp:spPr>
        <a:xfrm rot="3520422">
          <a:off x="3976026" y="1662322"/>
          <a:ext cx="1054211" cy="353350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600" kern="1200"/>
        </a:p>
      </dsp:txBody>
      <dsp:txXfrm>
        <a:off x="4082031" y="1732992"/>
        <a:ext cx="842201" cy="212010"/>
      </dsp:txXfrm>
    </dsp:sp>
    <dsp:sp modelId="{2EEA1849-D615-4969-929D-8FC03822A7DB}">
      <dsp:nvSpPr>
        <dsp:cNvPr id="0" name=""/>
        <dsp:cNvSpPr/>
      </dsp:nvSpPr>
      <dsp:spPr>
        <a:xfrm>
          <a:off x="4305448" y="2891361"/>
          <a:ext cx="2019143" cy="1009571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400" kern="1200" dirty="0">
              <a:solidFill>
                <a:srgbClr val="000065"/>
              </a:solidFill>
              <a:latin typeface="Cambria" panose="02040503050406030204" pitchFamily="18" charset="0"/>
            </a:rPr>
            <a:t>Stemming</a:t>
          </a:r>
          <a:endParaRPr lang="nl-NL" sz="3000" kern="1200" dirty="0">
            <a:solidFill>
              <a:srgbClr val="000065"/>
            </a:solidFill>
            <a:latin typeface="Cambria" panose="02040503050406030204" pitchFamily="18" charset="0"/>
          </a:endParaRPr>
        </a:p>
      </dsp:txBody>
      <dsp:txXfrm>
        <a:off x="4335017" y="2920930"/>
        <a:ext cx="1960005" cy="950433"/>
      </dsp:txXfrm>
    </dsp:sp>
    <dsp:sp modelId="{32B7912A-73D4-432A-8271-B37262BA3D17}">
      <dsp:nvSpPr>
        <dsp:cNvPr id="0" name=""/>
        <dsp:cNvSpPr/>
      </dsp:nvSpPr>
      <dsp:spPr>
        <a:xfrm rot="10800000">
          <a:off x="3119460" y="3219472"/>
          <a:ext cx="1054211" cy="353350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600" kern="1200"/>
        </a:p>
      </dsp:txBody>
      <dsp:txXfrm rot="10800000">
        <a:off x="3225465" y="3290142"/>
        <a:ext cx="842201" cy="212010"/>
      </dsp:txXfrm>
    </dsp:sp>
    <dsp:sp modelId="{A91C333D-DA36-407C-ACBC-C2F644D33578}">
      <dsp:nvSpPr>
        <dsp:cNvPr id="0" name=""/>
        <dsp:cNvSpPr/>
      </dsp:nvSpPr>
      <dsp:spPr>
        <a:xfrm>
          <a:off x="968540" y="2891361"/>
          <a:ext cx="2019143" cy="1009571"/>
        </a:xfrm>
        <a:prstGeom prst="roundRect">
          <a:avLst>
            <a:gd name="adj" fmla="val 10000"/>
          </a:avLst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2400" kern="1200" dirty="0">
              <a:solidFill>
                <a:srgbClr val="000065"/>
              </a:solidFill>
              <a:latin typeface="Cambria" panose="02040503050406030204" pitchFamily="18" charset="0"/>
            </a:rPr>
            <a:t>Beloning</a:t>
          </a:r>
          <a:r>
            <a:rPr lang="nl-NL" sz="3000" kern="1200" dirty="0">
              <a:solidFill>
                <a:srgbClr val="FF0000"/>
              </a:solidFill>
            </a:rPr>
            <a:t> </a:t>
          </a:r>
        </a:p>
      </dsp:txBody>
      <dsp:txXfrm>
        <a:off x="998109" y="2920930"/>
        <a:ext cx="1960005" cy="950433"/>
      </dsp:txXfrm>
    </dsp:sp>
    <dsp:sp modelId="{E8E19C74-F4F6-4210-B658-CF3A5D2910D5}">
      <dsp:nvSpPr>
        <dsp:cNvPr id="0" name=""/>
        <dsp:cNvSpPr/>
      </dsp:nvSpPr>
      <dsp:spPr>
        <a:xfrm rot="18079578">
          <a:off x="2281027" y="1678891"/>
          <a:ext cx="1054211" cy="353350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NL" sz="1600" kern="1200"/>
        </a:p>
      </dsp:txBody>
      <dsp:txXfrm>
        <a:off x="2387032" y="1749561"/>
        <a:ext cx="842201" cy="2120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481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481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fld id="{64E05D8C-73D4-47A9-82D4-D6733DA32B5C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7971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512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512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latin typeface="Arial" charset="0"/>
              </a:defRPr>
            </a:lvl1pPr>
          </a:lstStyle>
          <a:p>
            <a:fld id="{0684E3B4-BEBA-4F55-B30E-C6E3225F3A6B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2668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7.png"/><Relationship Id="rId4" Type="http://schemas.openxmlformats.org/officeDocument/2006/relationships/tags" Target="../tags/tag13.xml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12.emf"/><Relationship Id="rId4" Type="http://schemas.openxmlformats.org/officeDocument/2006/relationships/tags" Target="../tags/tag21.xml"/><Relationship Id="rId9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rgbClr val="00266E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266E"/>
                </a:solidFill>
              </a:defRPr>
            </a:lvl1pPr>
            <a:lvl2pPr>
              <a:defRPr>
                <a:solidFill>
                  <a:srgbClr val="00266E"/>
                </a:solidFill>
              </a:defRPr>
            </a:lvl2pPr>
            <a:lvl3pPr>
              <a:defRPr>
                <a:solidFill>
                  <a:srgbClr val="00266E"/>
                </a:solidFill>
              </a:defRPr>
            </a:lvl3pPr>
            <a:lvl4pPr>
              <a:defRPr>
                <a:solidFill>
                  <a:srgbClr val="00266E"/>
                </a:solidFill>
              </a:defRPr>
            </a:lvl4pPr>
            <a:lvl5pPr>
              <a:defRPr>
                <a:solidFill>
                  <a:srgbClr val="00266E"/>
                </a:solidFill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58089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 descr="marque tinted CUT.ep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50" y="-314325"/>
            <a:ext cx="10136188" cy="752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2"/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179388" y="620713"/>
            <a:ext cx="8856662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endParaRPr lang="de-DE" sz="2400">
              <a:solidFill>
                <a:srgbClr val="000000"/>
              </a:solidFill>
              <a:latin typeface="Geneva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7" name="Picture 12" descr="BENU_logo_SCREEN.eps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5000" y="711200"/>
            <a:ext cx="191611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5" descr="16x9 uplift bar cmyk.eps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486400"/>
            <a:ext cx="8915400" cy="1169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37202" y="712777"/>
            <a:ext cx="4108450" cy="22891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None/>
              <a:defRPr sz="5000" b="0" i="0">
                <a:solidFill>
                  <a:srgbClr val="58A618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 Placeholder 32"/>
          <p:cNvSpPr>
            <a:spLocks noGrp="1"/>
          </p:cNvSpPr>
          <p:nvPr>
            <p:ph type="body" sz="quarter" idx="18"/>
          </p:nvPr>
        </p:nvSpPr>
        <p:spPr>
          <a:xfrm>
            <a:off x="337202" y="2911943"/>
            <a:ext cx="4329113" cy="296930"/>
          </a:xfrm>
          <a:prstGeom prst="rect">
            <a:avLst/>
          </a:prstGeom>
        </p:spPr>
        <p:txBody>
          <a:bodyPr/>
          <a:lstStyle>
            <a:lvl1pPr>
              <a:lnSpc>
                <a:spcPts val="1680"/>
              </a:lnSpc>
              <a:spcBef>
                <a:spcPts val="0"/>
              </a:spcBef>
              <a:buNone/>
              <a:defRPr sz="1900" b="1" i="0">
                <a:solidFill>
                  <a:srgbClr val="002664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2" name="Tekstvak 1"/>
          <p:cNvSpPr txBox="1"/>
          <p:nvPr userDrawn="1"/>
        </p:nvSpPr>
        <p:spPr>
          <a:xfrm>
            <a:off x="2987824" y="6237312"/>
            <a:ext cx="3240360" cy="28803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1800" b="1" dirty="0">
                <a:solidFill>
                  <a:srgbClr val="FF0000"/>
                </a:solidFill>
                <a:latin typeface="Ubuntu"/>
              </a:rPr>
              <a:t>STRIKT</a:t>
            </a:r>
            <a:r>
              <a:rPr lang="nl-NL" sz="1800" b="1" baseline="0" dirty="0">
                <a:solidFill>
                  <a:srgbClr val="FF0000"/>
                </a:solidFill>
                <a:latin typeface="Ubuntu"/>
              </a:rPr>
              <a:t> VERTROUWELIJK</a:t>
            </a:r>
            <a:endParaRPr lang="nl-NL" sz="1800" b="1" dirty="0">
              <a:solidFill>
                <a:srgbClr val="FF0000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614834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rgbClr val="00266E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266E"/>
                </a:solidFill>
              </a:defRPr>
            </a:lvl1pPr>
            <a:lvl2pPr>
              <a:defRPr>
                <a:solidFill>
                  <a:srgbClr val="00266E"/>
                </a:solidFill>
              </a:defRPr>
            </a:lvl2pPr>
            <a:lvl3pPr>
              <a:defRPr>
                <a:solidFill>
                  <a:srgbClr val="00266E"/>
                </a:solidFill>
              </a:defRPr>
            </a:lvl3pPr>
            <a:lvl4pPr>
              <a:defRPr>
                <a:solidFill>
                  <a:srgbClr val="00266E"/>
                </a:solidFill>
              </a:defRPr>
            </a:lvl4pPr>
            <a:lvl5pPr>
              <a:defRPr>
                <a:solidFill>
                  <a:srgbClr val="00266E"/>
                </a:solidFill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kstvak 3"/>
          <p:cNvSpPr txBox="1"/>
          <p:nvPr userDrawn="1"/>
        </p:nvSpPr>
        <p:spPr>
          <a:xfrm>
            <a:off x="2987824" y="6237312"/>
            <a:ext cx="3240360" cy="28803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1800" b="1" dirty="0">
                <a:solidFill>
                  <a:srgbClr val="FF0000"/>
                </a:solidFill>
                <a:latin typeface="Ubuntu"/>
              </a:rPr>
              <a:t>STRIKT</a:t>
            </a:r>
            <a:r>
              <a:rPr lang="nl-NL" sz="1800" b="1" baseline="0" dirty="0">
                <a:solidFill>
                  <a:srgbClr val="FF0000"/>
                </a:solidFill>
                <a:latin typeface="Ubuntu"/>
              </a:rPr>
              <a:t> VERTROUWELIJK</a:t>
            </a:r>
            <a:endParaRPr lang="nl-NL" sz="1800" b="1" dirty="0">
              <a:solidFill>
                <a:srgbClr val="FF0000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3571700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460375" y="1313535"/>
            <a:ext cx="5567363" cy="1984375"/>
          </a:xfrm>
          <a:prstGeom prst="rect">
            <a:avLst/>
          </a:prstGeom>
        </p:spPr>
        <p:txBody>
          <a:bodyPr vert="horz"/>
          <a:lstStyle>
            <a:lvl1pPr marL="108000" indent="-360000">
              <a:buNone/>
              <a:defRPr sz="1600">
                <a:solidFill>
                  <a:srgbClr val="002664"/>
                </a:solidFill>
                <a:latin typeface="Arial"/>
                <a:cs typeface="Arial"/>
              </a:defRPr>
            </a:lvl1pPr>
            <a:lvl2pPr>
              <a:defRPr sz="1600">
                <a:solidFill>
                  <a:srgbClr val="002664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002664"/>
                </a:solidFill>
                <a:latin typeface="Arial"/>
                <a:cs typeface="Arial"/>
              </a:defRPr>
            </a:lvl3pPr>
            <a:lvl4pPr>
              <a:defRPr sz="1600">
                <a:solidFill>
                  <a:srgbClr val="002664"/>
                </a:solidFill>
                <a:latin typeface="Arial"/>
                <a:cs typeface="Arial"/>
              </a:defRPr>
            </a:lvl4pPr>
            <a:lvl5pPr>
              <a:defRPr sz="1600">
                <a:solidFill>
                  <a:srgbClr val="002664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err="1"/>
              <a:t>﻿</a:t>
            </a:r>
            <a:r>
              <a:rPr lang="en-US" dirty="0"/>
              <a:t>• Bullet points</a:t>
            </a:r>
            <a:br>
              <a:rPr lang="en-US" dirty="0"/>
            </a:br>
            <a:r>
              <a:rPr lang="en-US" dirty="0"/>
              <a:t>Text copy, remember you can use </a:t>
            </a:r>
            <a:r>
              <a:rPr lang="en-US" dirty="0" err="1"/>
              <a:t>colour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weight &amp; italics to make your point.</a:t>
            </a:r>
          </a:p>
        </p:txBody>
      </p:sp>
      <p:sp>
        <p:nvSpPr>
          <p:cNvPr id="3" name="Tekstvak 2"/>
          <p:cNvSpPr txBox="1"/>
          <p:nvPr userDrawn="1"/>
        </p:nvSpPr>
        <p:spPr>
          <a:xfrm>
            <a:off x="2987824" y="6237312"/>
            <a:ext cx="3240360" cy="28803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1800" b="1" dirty="0">
                <a:solidFill>
                  <a:srgbClr val="FF0000"/>
                </a:solidFill>
                <a:latin typeface="Ubuntu"/>
              </a:rPr>
              <a:t>STRIKT</a:t>
            </a:r>
            <a:r>
              <a:rPr lang="nl-NL" sz="1800" b="1" baseline="0" dirty="0">
                <a:solidFill>
                  <a:srgbClr val="FF0000"/>
                </a:solidFill>
                <a:latin typeface="Ubuntu"/>
              </a:rPr>
              <a:t> VERTROUWELIJK</a:t>
            </a:r>
            <a:endParaRPr lang="nl-NL" sz="1800" b="1" dirty="0">
              <a:solidFill>
                <a:srgbClr val="FF0000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4007452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/>
          <p:cNvSpPr txBox="1"/>
          <p:nvPr userDrawn="1"/>
        </p:nvSpPr>
        <p:spPr>
          <a:xfrm>
            <a:off x="2987824" y="6237312"/>
            <a:ext cx="3240360" cy="28803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1800" b="1" dirty="0">
                <a:solidFill>
                  <a:srgbClr val="FF0000"/>
                </a:solidFill>
                <a:latin typeface="Ubuntu"/>
              </a:rPr>
              <a:t>STRIKT</a:t>
            </a:r>
            <a:r>
              <a:rPr lang="nl-NL" sz="1800" b="1" baseline="0" dirty="0">
                <a:solidFill>
                  <a:srgbClr val="FF0000"/>
                </a:solidFill>
                <a:latin typeface="Ubuntu"/>
              </a:rPr>
              <a:t> VERTROUWELIJK</a:t>
            </a:r>
            <a:endParaRPr lang="nl-NL" sz="1800" b="1" dirty="0">
              <a:solidFill>
                <a:srgbClr val="FF0000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7703354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6073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6" name="think-cell Slide" r:id="rId6" imgW="38100" imgH="38100" progId="TCLayout.ActiveDocument.1">
                  <p:embed/>
                </p:oleObj>
              </mc:Choice>
              <mc:Fallback>
                <p:oleObj name="think-cell Slide" r:id="rId6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 descr="marque tinted CUT.ep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50" y="-314325"/>
            <a:ext cx="10136188" cy="752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Line 2"/>
          <p:cNvSpPr>
            <a:spLocks noChangeShapeType="1"/>
          </p:cNvSpPr>
          <p:nvPr userDrawn="1">
            <p:custDataLst>
              <p:tags r:id="rId4"/>
            </p:custDataLst>
          </p:nvPr>
        </p:nvSpPr>
        <p:spPr bwMode="auto">
          <a:xfrm>
            <a:off x="179388" y="620713"/>
            <a:ext cx="8856662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endParaRPr lang="de-DE" sz="2400">
              <a:solidFill>
                <a:srgbClr val="000000"/>
              </a:solidFill>
              <a:latin typeface="Geneva" charset="0"/>
              <a:ea typeface="MS PGothic" pitchFamily="34" charset="-128"/>
            </a:endParaRPr>
          </a:p>
        </p:txBody>
      </p:sp>
      <p:pic>
        <p:nvPicPr>
          <p:cNvPr id="7" name="Picture 16" descr="BENU 4x3 Uplift Bar RGB.emf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16563"/>
            <a:ext cx="8893175" cy="1093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3" descr="BENU_aPhoenixCo_logo_RGB.emf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765175"/>
            <a:ext cx="2160587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34"/>
          <p:cNvSpPr>
            <a:spLocks noGrp="1"/>
          </p:cNvSpPr>
          <p:nvPr>
            <p:ph type="body" sz="quarter" idx="15"/>
          </p:nvPr>
        </p:nvSpPr>
        <p:spPr>
          <a:xfrm>
            <a:off x="337202" y="712777"/>
            <a:ext cx="4108450" cy="22891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None/>
              <a:defRPr sz="5000" b="0" i="0">
                <a:solidFill>
                  <a:srgbClr val="58A618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 Placeholder 32"/>
          <p:cNvSpPr>
            <a:spLocks noGrp="1"/>
          </p:cNvSpPr>
          <p:nvPr>
            <p:ph type="body" sz="quarter" idx="18"/>
          </p:nvPr>
        </p:nvSpPr>
        <p:spPr>
          <a:xfrm>
            <a:off x="337202" y="2911943"/>
            <a:ext cx="4329113" cy="296930"/>
          </a:xfrm>
          <a:prstGeom prst="rect">
            <a:avLst/>
          </a:prstGeom>
        </p:spPr>
        <p:txBody>
          <a:bodyPr/>
          <a:lstStyle>
            <a:lvl1pPr>
              <a:lnSpc>
                <a:spcPts val="1680"/>
              </a:lnSpc>
              <a:spcBef>
                <a:spcPts val="0"/>
              </a:spcBef>
              <a:buNone/>
              <a:defRPr sz="1900" b="1" i="0">
                <a:solidFill>
                  <a:srgbClr val="002664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96302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rgbClr val="00266E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00266E"/>
                </a:solidFill>
              </a:defRPr>
            </a:lvl1pPr>
            <a:lvl2pPr>
              <a:defRPr>
                <a:solidFill>
                  <a:srgbClr val="00266E"/>
                </a:solidFill>
              </a:defRPr>
            </a:lvl2pPr>
            <a:lvl3pPr>
              <a:defRPr>
                <a:solidFill>
                  <a:srgbClr val="00266E"/>
                </a:solidFill>
              </a:defRPr>
            </a:lvl3pPr>
            <a:lvl4pPr>
              <a:defRPr>
                <a:solidFill>
                  <a:srgbClr val="00266E"/>
                </a:solidFill>
              </a:defRPr>
            </a:lvl4pPr>
            <a:lvl5pPr>
              <a:defRPr>
                <a:solidFill>
                  <a:srgbClr val="00266E"/>
                </a:solidFill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61109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image" Target="../media/image4.png"/><Relationship Id="rId3" Type="http://schemas.openxmlformats.org/officeDocument/2006/relationships/vmlDrawing" Target="../drawings/vmlDrawing1.vml"/><Relationship Id="rId7" Type="http://schemas.openxmlformats.org/officeDocument/2006/relationships/tags" Target="../tags/tag4.xml"/><Relationship Id="rId12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image" Target="../media/image2.png"/><Relationship Id="rId5" Type="http://schemas.openxmlformats.org/officeDocument/2006/relationships/tags" Target="../tags/tag2.xml"/><Relationship Id="rId10" Type="http://schemas.openxmlformats.org/officeDocument/2006/relationships/image" Target="../media/image1.emf"/><Relationship Id="rId4" Type="http://schemas.openxmlformats.org/officeDocument/2006/relationships/tags" Target="../tags/tag1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vmlDrawing" Target="../drawings/vmlDrawing2.vml"/><Relationship Id="rId12" Type="http://schemas.openxmlformats.org/officeDocument/2006/relationships/tags" Target="../tags/tag1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2.png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7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emf"/><Relationship Id="rId3" Type="http://schemas.openxmlformats.org/officeDocument/2006/relationships/theme" Target="../theme/theme3.xml"/><Relationship Id="rId7" Type="http://schemas.openxmlformats.org/officeDocument/2006/relationships/tags" Target="../tags/tag16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15.xml"/><Relationship Id="rId11" Type="http://schemas.openxmlformats.org/officeDocument/2006/relationships/image" Target="../media/image1.emf"/><Relationship Id="rId5" Type="http://schemas.openxmlformats.org/officeDocument/2006/relationships/tags" Target="../tags/tag14.xml"/><Relationship Id="rId10" Type="http://schemas.openxmlformats.org/officeDocument/2006/relationships/oleObject" Target="../embeddings/oleObject4.bin"/><Relationship Id="rId4" Type="http://schemas.openxmlformats.org/officeDocument/2006/relationships/vmlDrawing" Target="../drawings/vmlDrawing4.vml"/><Relationship Id="rId9" Type="http://schemas.openxmlformats.org/officeDocument/2006/relationships/tags" Target="../tags/tag18.xml"/><Relationship Id="rId14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5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179388" y="990600"/>
            <a:ext cx="8856662" cy="5113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nl-NL"/>
              <a:t>Textmasterformate durch Klicken bearbeiten</a:t>
            </a:r>
          </a:p>
          <a:p>
            <a:pPr lvl="1"/>
            <a:r>
              <a:rPr lang="de-DE" altLang="nl-NL"/>
              <a:t>Zweite Ebene</a:t>
            </a:r>
          </a:p>
          <a:p>
            <a:pPr lvl="2"/>
            <a:r>
              <a:rPr lang="de-DE" altLang="nl-NL"/>
              <a:t>Dritte Ebene</a:t>
            </a:r>
          </a:p>
          <a:p>
            <a:pPr lvl="3"/>
            <a:r>
              <a:rPr lang="de-DE" altLang="nl-NL"/>
              <a:t>Vierte Ebene</a:t>
            </a:r>
          </a:p>
          <a:p>
            <a:pPr lvl="4"/>
            <a:r>
              <a:rPr lang="de-DE" altLang="nl-NL"/>
              <a:t>Fünfte Ebene</a:t>
            </a:r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82550" y="98425"/>
            <a:ext cx="8207375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nl-NL"/>
              <a:t>Titelmasterformat durch Klicken bearbeiten</a:t>
            </a:r>
          </a:p>
        </p:txBody>
      </p:sp>
      <p:sp>
        <p:nvSpPr>
          <p:cNvPr id="9" name="Line 2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179388" y="838200"/>
            <a:ext cx="8856662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endParaRPr lang="de-DE" sz="2400">
              <a:solidFill>
                <a:srgbClr val="000000"/>
              </a:solidFill>
              <a:latin typeface="Geneva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1030" name="Picture 8" descr="BENU_logo_SCREEN.eps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600" y="165100"/>
            <a:ext cx="1447800" cy="56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153400" y="6500813"/>
            <a:ext cx="808038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9pPr>
          </a:lstStyle>
          <a:p>
            <a:pPr algn="ctr" eaLnBrk="1" hangingPunct="1">
              <a:defRPr/>
            </a:pPr>
            <a:fld id="{8A99B5B1-21BA-46D6-9783-C98D69216F61}" type="slidenum">
              <a:rPr lang="de-DE" altLang="nl-NL" sz="1200" smtClean="0">
                <a:solidFill>
                  <a:srgbClr val="58A618"/>
                </a:solidFill>
                <a:latin typeface="Ubuntu" pitchFamily="-106" charset="0"/>
                <a:cs typeface="Arial" pitchFamily="34" charset="0"/>
              </a:rPr>
              <a:pPr algn="ctr" eaLnBrk="1" hangingPunct="1">
                <a:defRPr/>
              </a:pPr>
              <a:t>‹nr.›</a:t>
            </a:fld>
            <a:endParaRPr lang="de-DE" altLang="nl-NL" sz="1200">
              <a:solidFill>
                <a:srgbClr val="58A618"/>
              </a:solidFill>
              <a:latin typeface="Ubuntu" pitchFamily="-106" charset="0"/>
              <a:cs typeface="Arial" pitchFamily="34" charset="0"/>
            </a:endParaRPr>
          </a:p>
          <a:p>
            <a:pPr algn="ctr" eaLnBrk="1" hangingPunct="1">
              <a:defRPr/>
            </a:pPr>
            <a:endParaRPr lang="de-DE" altLang="nl-NL" sz="1200">
              <a:solidFill>
                <a:srgbClr val="58A618"/>
              </a:solidFill>
              <a:latin typeface="Ubuntu" pitchFamily="-106" charset="0"/>
              <a:cs typeface="Arial" pitchFamily="34" charset="0"/>
            </a:endParaRPr>
          </a:p>
        </p:txBody>
      </p:sp>
      <p:pic>
        <p:nvPicPr>
          <p:cNvPr id="1032" name="Picture 16" descr="16x9 straight bar cmyk.eps"/>
          <p:cNvPicPr>
            <a:picLocks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0150" y="6548438"/>
            <a:ext cx="34131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10" descr="16x9 uplift bar cmyk.eps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3825"/>
            <a:ext cx="8305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2960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 b="1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2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5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79388" y="990600"/>
            <a:ext cx="8856662" cy="5113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nl-NL"/>
              <a:t>Textmasterformate durch Klicken bearbeiten</a:t>
            </a:r>
          </a:p>
          <a:p>
            <a:pPr lvl="1"/>
            <a:r>
              <a:rPr lang="de-DE" altLang="nl-NL"/>
              <a:t>Zweite Ebene</a:t>
            </a:r>
          </a:p>
          <a:p>
            <a:pPr lvl="2"/>
            <a:r>
              <a:rPr lang="de-DE" altLang="nl-NL"/>
              <a:t>Dritte Ebene</a:t>
            </a:r>
          </a:p>
          <a:p>
            <a:pPr lvl="3"/>
            <a:r>
              <a:rPr lang="de-DE" altLang="nl-NL"/>
              <a:t>Vierte Ebene</a:t>
            </a:r>
          </a:p>
          <a:p>
            <a:pPr lvl="4"/>
            <a:r>
              <a:rPr lang="de-DE" altLang="nl-NL"/>
              <a:t>Fünfte Ebene</a:t>
            </a:r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82550" y="98425"/>
            <a:ext cx="8207375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nl-NL"/>
              <a:t>Titelmasterformat durch Klicken bearbeiten</a:t>
            </a:r>
          </a:p>
        </p:txBody>
      </p:sp>
      <p:sp>
        <p:nvSpPr>
          <p:cNvPr id="9" name="Line 2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179388" y="838200"/>
            <a:ext cx="8856662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endParaRPr lang="de-DE" sz="2400">
              <a:solidFill>
                <a:srgbClr val="000000"/>
              </a:solidFill>
              <a:latin typeface="Geneva" charset="0"/>
              <a:ea typeface="MS PGothic" pitchFamily="34" charset="-128"/>
              <a:cs typeface="Arial" pitchFamily="34" charset="0"/>
            </a:endParaRPr>
          </a:p>
        </p:txBody>
      </p:sp>
      <p:pic>
        <p:nvPicPr>
          <p:cNvPr id="1030" name="Picture 8" descr="BENU_logo_SCREEN.eps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7600" y="165100"/>
            <a:ext cx="1447800" cy="56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153400" y="6500813"/>
            <a:ext cx="808038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pitchFamily="-106" charset="0"/>
                <a:ea typeface="ＭＳ Ｐゴシック" pitchFamily="-106" charset="-128"/>
              </a:defRPr>
            </a:lvl9pPr>
          </a:lstStyle>
          <a:p>
            <a:pPr algn="ctr" eaLnBrk="1" hangingPunct="1">
              <a:defRPr/>
            </a:pPr>
            <a:fld id="{8A99B5B1-21BA-46D6-9783-C98D69216F61}" type="slidenum">
              <a:rPr lang="de-DE" altLang="nl-NL" sz="1200" smtClean="0">
                <a:solidFill>
                  <a:srgbClr val="58A618"/>
                </a:solidFill>
                <a:latin typeface="Ubuntu" pitchFamily="-106" charset="0"/>
                <a:cs typeface="Arial" pitchFamily="34" charset="0"/>
              </a:rPr>
              <a:pPr algn="ctr" eaLnBrk="1" hangingPunct="1">
                <a:defRPr/>
              </a:pPr>
              <a:t>‹nr.›</a:t>
            </a:fld>
            <a:endParaRPr lang="de-DE" altLang="nl-NL" sz="1200">
              <a:solidFill>
                <a:srgbClr val="58A618"/>
              </a:solidFill>
              <a:latin typeface="Ubuntu" pitchFamily="-106" charset="0"/>
              <a:cs typeface="Arial" pitchFamily="34" charset="0"/>
            </a:endParaRPr>
          </a:p>
          <a:p>
            <a:pPr algn="ctr" eaLnBrk="1" hangingPunct="1">
              <a:defRPr/>
            </a:pPr>
            <a:endParaRPr lang="de-DE" altLang="nl-NL" sz="1200">
              <a:solidFill>
                <a:srgbClr val="58A618"/>
              </a:solidFill>
              <a:latin typeface="Ubuntu" pitchFamily="-106" charset="0"/>
              <a:cs typeface="Arial" pitchFamily="34" charset="0"/>
            </a:endParaRPr>
          </a:p>
        </p:txBody>
      </p:sp>
      <p:pic>
        <p:nvPicPr>
          <p:cNvPr id="1032" name="Picture 16" descr="16x9 straight bar cmyk.eps"/>
          <p:cNvPicPr>
            <a:picLocks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0150" y="6548438"/>
            <a:ext cx="34131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10" descr="16x9 uplift bar cmyk.eps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3825"/>
            <a:ext cx="8305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3961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9" r:id="rId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 b="1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2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2" name="think-cell Slide" r:id="rId10" imgW="38100" imgH="38100" progId="TCLayout.ActiveDocument.1">
                  <p:embed/>
                </p:oleObj>
              </mc:Choice>
              <mc:Fallback>
                <p:oleObj name="think-cell Slide" r:id="rId10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5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179388" y="990600"/>
            <a:ext cx="8856662" cy="5113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nl-NL"/>
              <a:t>Textmasterformate durch Klicken bearbeiten</a:t>
            </a:r>
          </a:p>
          <a:p>
            <a:pPr lvl="1"/>
            <a:r>
              <a:rPr lang="de-DE" altLang="nl-NL"/>
              <a:t>Zweite Ebene</a:t>
            </a:r>
          </a:p>
          <a:p>
            <a:pPr lvl="2"/>
            <a:r>
              <a:rPr lang="de-DE" altLang="nl-NL"/>
              <a:t>Dritte Ebene</a:t>
            </a:r>
          </a:p>
          <a:p>
            <a:pPr lvl="3"/>
            <a:r>
              <a:rPr lang="de-DE" altLang="nl-NL"/>
              <a:t>Vierte Ebene</a:t>
            </a:r>
          </a:p>
          <a:p>
            <a:pPr lvl="4"/>
            <a:r>
              <a:rPr lang="de-DE" altLang="nl-NL"/>
              <a:t>Fünfte Ebene</a:t>
            </a:r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82550" y="98425"/>
            <a:ext cx="8207375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nl-NL"/>
              <a:t>Titelmasterformat durch Klicken bearbeiten</a:t>
            </a:r>
          </a:p>
        </p:txBody>
      </p:sp>
      <p:sp>
        <p:nvSpPr>
          <p:cNvPr id="9" name="Line 2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179388" y="838200"/>
            <a:ext cx="8856662" cy="0"/>
          </a:xfrm>
          <a:prstGeom prst="line">
            <a:avLst/>
          </a:prstGeom>
          <a:noFill/>
          <a:ln w="9525">
            <a:solidFill>
              <a:schemeClr val="accent5">
                <a:lumMod val="2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endParaRPr lang="de-DE" sz="2400">
              <a:solidFill>
                <a:srgbClr val="000000"/>
              </a:solidFill>
              <a:latin typeface="Geneva" charset="0"/>
              <a:ea typeface="MS PGothic" pitchFamily="34" charset="-128"/>
            </a:endParaRPr>
          </a:p>
        </p:txBody>
      </p:sp>
      <p:pic>
        <p:nvPicPr>
          <p:cNvPr id="1030" name="Picture 8" descr="BENU_logo_SCREEN.eps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165100"/>
            <a:ext cx="1447800" cy="56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11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8153400" y="6464300"/>
            <a:ext cx="808038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Geneva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fld id="{099B5A79-AB6B-41C9-B94E-9309F10445B9}" type="slidenum">
              <a:rPr lang="de-DE" altLang="nl-NL" sz="1200" smtClean="0">
                <a:solidFill>
                  <a:srgbClr val="58A618"/>
                </a:solidFill>
                <a:latin typeface="Ubuntu" charset="0"/>
              </a:rPr>
              <a:pPr algn="ctr" eaLnBrk="1" hangingPunct="1">
                <a:defRPr/>
              </a:pPr>
              <a:t>‹nr.›</a:t>
            </a:fld>
            <a:endParaRPr lang="de-DE" altLang="nl-NL" sz="1200">
              <a:solidFill>
                <a:srgbClr val="58A618"/>
              </a:solidFill>
              <a:latin typeface="Ubuntu" charset="0"/>
            </a:endParaRPr>
          </a:p>
          <a:p>
            <a:pPr algn="ctr" eaLnBrk="1" hangingPunct="1">
              <a:defRPr/>
            </a:pPr>
            <a:endParaRPr lang="de-DE" altLang="nl-NL" sz="1200">
              <a:solidFill>
                <a:srgbClr val="58A618"/>
              </a:solidFill>
              <a:latin typeface="Ubuntu" charset="0"/>
            </a:endParaRPr>
          </a:p>
        </p:txBody>
      </p:sp>
      <p:pic>
        <p:nvPicPr>
          <p:cNvPr id="1032" name="Picture 14" descr="BENU Uplift Bar LONG BAR RGB.emf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53188"/>
            <a:ext cx="8316913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15" descr="BENU Uplift Bar SHORT BAR RGB.emf"/>
          <p:cNvPicPr>
            <a:picLocks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5225" y="6530975"/>
            <a:ext cx="358775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kstvak 9"/>
          <p:cNvSpPr txBox="1"/>
          <p:nvPr userDrawn="1"/>
        </p:nvSpPr>
        <p:spPr>
          <a:xfrm>
            <a:off x="2987824" y="6237312"/>
            <a:ext cx="3240360" cy="28803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1800" b="1" dirty="0">
                <a:solidFill>
                  <a:srgbClr val="FF0000"/>
                </a:solidFill>
                <a:latin typeface="Ubuntu"/>
              </a:rPr>
              <a:t>STRIKT</a:t>
            </a:r>
            <a:r>
              <a:rPr lang="nl-NL" sz="1800" b="1" baseline="0" dirty="0">
                <a:solidFill>
                  <a:srgbClr val="FF0000"/>
                </a:solidFill>
                <a:latin typeface="Ubuntu"/>
              </a:rPr>
              <a:t> VERTROUWELIJK</a:t>
            </a:r>
            <a:endParaRPr lang="nl-NL" sz="1800" b="1" dirty="0">
              <a:solidFill>
                <a:srgbClr val="FF0000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1898467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 b="1">
          <a:solidFill>
            <a:srgbClr val="00266E"/>
          </a:solidFill>
          <a:latin typeface="Ubuntu"/>
          <a:ea typeface="MS PGothic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58A618"/>
        </a:buClr>
        <a:buFont typeface="Arial" pitchFamily="34" charset="0"/>
        <a:buChar char="•"/>
        <a:defRPr>
          <a:solidFill>
            <a:srgbClr val="00266E"/>
          </a:solidFill>
          <a:latin typeface="Ubuntu"/>
          <a:ea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4F"/>
        </a:buClr>
        <a:buFont typeface="Arial" charset="0"/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4.wmf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xmlns="" id="{5123F52D-CAA7-433D-B368-5B50CA4774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83677" y="1412776"/>
            <a:ext cx="6984776" cy="4228391"/>
          </a:xfrm>
        </p:spPr>
        <p:txBody>
          <a:bodyPr/>
          <a:lstStyle/>
          <a:p>
            <a:r>
              <a:rPr lang="nl-NL" sz="4400" dirty="0" smtClean="0">
                <a:solidFill>
                  <a:schemeClr val="accent2"/>
                </a:solidFill>
              </a:rPr>
              <a:t>BENU Apotheek </a:t>
            </a:r>
            <a:r>
              <a:rPr lang="nl-NL" sz="4400" dirty="0">
                <a:solidFill>
                  <a:schemeClr val="accent2"/>
                </a:solidFill>
              </a:rPr>
              <a:t>Meerzicht</a:t>
            </a:r>
          </a:p>
          <a:p>
            <a:pPr>
              <a:lnSpc>
                <a:spcPct val="100000"/>
              </a:lnSpc>
            </a:pPr>
            <a:r>
              <a:rPr lang="nl-NL" sz="1800" dirty="0">
                <a:solidFill>
                  <a:schemeClr val="accent2"/>
                </a:solidFill>
              </a:rPr>
              <a:t>Drs. Fred Korver, </a:t>
            </a:r>
            <a:r>
              <a:rPr lang="nl-NL" sz="1800" dirty="0" smtClean="0">
                <a:solidFill>
                  <a:schemeClr val="accent2"/>
                </a:solidFill>
              </a:rPr>
              <a:t>openbaar </a:t>
            </a:r>
            <a:r>
              <a:rPr lang="nl-NL" sz="1800" dirty="0">
                <a:solidFill>
                  <a:schemeClr val="accent2"/>
                </a:solidFill>
              </a:rPr>
              <a:t>apotheker</a:t>
            </a:r>
          </a:p>
          <a:p>
            <a:pPr>
              <a:lnSpc>
                <a:spcPct val="100000"/>
              </a:lnSpc>
            </a:pPr>
            <a:r>
              <a:rPr lang="nl-NL" sz="1800" dirty="0">
                <a:solidFill>
                  <a:schemeClr val="accent2"/>
                </a:solidFill>
              </a:rPr>
              <a:t>4 JAAR lid van ParkinsonNet</a:t>
            </a:r>
          </a:p>
          <a:p>
            <a:pPr>
              <a:lnSpc>
                <a:spcPct val="100000"/>
              </a:lnSpc>
            </a:pPr>
            <a:r>
              <a:rPr lang="nl-NL" sz="1800" dirty="0">
                <a:solidFill>
                  <a:schemeClr val="accent2"/>
                </a:solidFill>
              </a:rPr>
              <a:t>Lid van SIG KNMP ‘’kwetsbare ouderen”</a:t>
            </a:r>
          </a:p>
          <a:p>
            <a:pPr>
              <a:lnSpc>
                <a:spcPct val="100000"/>
              </a:lnSpc>
            </a:pPr>
            <a:endParaRPr lang="nl-NL" sz="1800" dirty="0">
              <a:solidFill>
                <a:schemeClr val="accent2"/>
              </a:solidFill>
            </a:endParaRP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3D2957C5-529B-40E0-869B-CE42E19309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3677" y="3429000"/>
            <a:ext cx="8784976" cy="262475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nl-NL" sz="3200" dirty="0">
                <a:solidFill>
                  <a:srgbClr val="002060"/>
                </a:solidFill>
              </a:rPr>
              <a:t>	</a:t>
            </a:r>
            <a:r>
              <a:rPr lang="nl-NL" sz="2800" dirty="0">
                <a:solidFill>
                  <a:srgbClr val="002060"/>
                </a:solidFill>
              </a:rPr>
              <a:t>De rol van de apotheker bij Parkinson Patiënten en bijwerkingen van Parkinson medicatie</a:t>
            </a:r>
            <a:endParaRPr lang="nl-NL" sz="3200" dirty="0">
              <a:solidFill>
                <a:srgbClr val="002060"/>
              </a:solidFill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xmlns="" id="{626C2C92-40AF-4657-A4FD-FFBEAA37A197}"/>
              </a:ext>
            </a:extLst>
          </p:cNvPr>
          <p:cNvSpPr txBox="1"/>
          <p:nvPr/>
        </p:nvSpPr>
        <p:spPr>
          <a:xfrm>
            <a:off x="827584" y="4993094"/>
            <a:ext cx="6120680" cy="236106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6771828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xmlns="" id="{66BBFD09-162C-4D00-BA78-2A16CC70EEEE}"/>
              </a:ext>
            </a:extLst>
          </p:cNvPr>
          <p:cNvSpPr txBox="1"/>
          <p:nvPr/>
        </p:nvSpPr>
        <p:spPr>
          <a:xfrm>
            <a:off x="683568" y="1268760"/>
            <a:ext cx="7632848" cy="1296144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xmlns="" id="{E7708313-0592-4E8B-AE6A-4749E866F32D}"/>
              </a:ext>
            </a:extLst>
          </p:cNvPr>
          <p:cNvSpPr txBox="1"/>
          <p:nvPr/>
        </p:nvSpPr>
        <p:spPr>
          <a:xfrm>
            <a:off x="683568" y="1556792"/>
            <a:ext cx="7560840" cy="4536504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xmlns="" id="{03E26805-030F-4A0C-8375-9F3109218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052736"/>
            <a:ext cx="4104456" cy="3168352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xmlns="" id="{DB720026-D0B0-4B49-9640-D8A2566D4315}"/>
              </a:ext>
            </a:extLst>
          </p:cNvPr>
          <p:cNvSpPr txBox="1"/>
          <p:nvPr/>
        </p:nvSpPr>
        <p:spPr>
          <a:xfrm>
            <a:off x="4644008" y="1268760"/>
            <a:ext cx="4032448" cy="3456384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xmlns="" id="{8366AE72-B5D7-461C-9974-B21E0AEAADCA}"/>
              </a:ext>
            </a:extLst>
          </p:cNvPr>
          <p:cNvSpPr txBox="1"/>
          <p:nvPr/>
        </p:nvSpPr>
        <p:spPr>
          <a:xfrm>
            <a:off x="4860032" y="1772816"/>
            <a:ext cx="3816424" cy="187220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xmlns="" id="{A93F14D9-A46F-4EE2-9634-F66A9045B4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1980" y="999459"/>
            <a:ext cx="3960440" cy="3672408"/>
          </a:xfrm>
          <a:prstGeom prst="rect">
            <a:avLst/>
          </a:prstGeom>
        </p:spPr>
      </p:pic>
      <p:sp>
        <p:nvSpPr>
          <p:cNvPr id="8" name="Tekstvak 7">
            <a:extLst>
              <a:ext uri="{FF2B5EF4-FFF2-40B4-BE49-F238E27FC236}">
                <a16:creationId xmlns:a16="http://schemas.microsoft.com/office/drawing/2014/main" xmlns="" id="{4EB685BD-5977-45C2-9A82-9823B820168B}"/>
              </a:ext>
            </a:extLst>
          </p:cNvPr>
          <p:cNvSpPr txBox="1"/>
          <p:nvPr/>
        </p:nvSpPr>
        <p:spPr>
          <a:xfrm>
            <a:off x="251520" y="4509120"/>
            <a:ext cx="8208912" cy="1476164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b="1" u="sng" dirty="0" err="1">
                <a:solidFill>
                  <a:schemeClr val="accent2"/>
                </a:solidFill>
                <a:latin typeface="Cambria" panose="02040503050406030204" pitchFamily="18" charset="0"/>
              </a:rPr>
              <a:t>Numient</a:t>
            </a:r>
            <a:r>
              <a:rPr lang="nl-NL" dirty="0">
                <a:solidFill>
                  <a:schemeClr val="accent2"/>
                </a:solidFill>
                <a:latin typeface="Cambria" panose="02040503050406030204" pitchFamily="18" charset="0"/>
              </a:rPr>
              <a:t>®</a:t>
            </a:r>
            <a:r>
              <a:rPr lang="nl-NL" dirty="0">
                <a:solidFill>
                  <a:srgbClr val="1D3175"/>
                </a:solidFill>
                <a:latin typeface="Cambria" panose="02040503050406030204" pitchFamily="18" charset="0"/>
              </a:rPr>
              <a:t>=IPX066, </a:t>
            </a:r>
            <a:r>
              <a:rPr lang="nl-NL" b="1" u="sng" dirty="0">
                <a:solidFill>
                  <a:schemeClr val="accent2"/>
                </a:solidFill>
                <a:latin typeface="Cambria" panose="02040503050406030204" pitchFamily="18" charset="0"/>
              </a:rPr>
              <a:t>minder OFF-tijd en minder variatie in de bloed spiegel</a:t>
            </a:r>
            <a:r>
              <a:rPr lang="nl-NL" dirty="0">
                <a:solidFill>
                  <a:srgbClr val="1D3175"/>
                </a:solidFill>
                <a:latin typeface="Cambria" panose="02040503050406030204" pitchFamily="18" charset="0"/>
              </a:rPr>
              <a:t>.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dirty="0">
                <a:solidFill>
                  <a:srgbClr val="1D3175"/>
                </a:solidFill>
                <a:latin typeface="Cambria" panose="02040503050406030204" pitchFamily="18" charset="0"/>
              </a:rPr>
              <a:t>Theoretisch halvering van de huidige Parkinson middelen. </a:t>
            </a:r>
            <a:r>
              <a:rPr lang="nl-NL" dirty="0" err="1">
                <a:solidFill>
                  <a:srgbClr val="1D3175"/>
                </a:solidFill>
                <a:latin typeface="Cambria" panose="02040503050406030204" pitchFamily="18" charset="0"/>
              </a:rPr>
              <a:t>Numient</a:t>
            </a:r>
            <a:r>
              <a:rPr lang="nl-NL" dirty="0">
                <a:solidFill>
                  <a:srgbClr val="1D3175"/>
                </a:solidFill>
                <a:latin typeface="Cambria" panose="02040503050406030204" pitchFamily="18" charset="0"/>
              </a:rPr>
              <a:t>® is in Europa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dirty="0">
                <a:solidFill>
                  <a:srgbClr val="1D3175"/>
                </a:solidFill>
                <a:latin typeface="Cambria" panose="02040503050406030204" pitchFamily="18" charset="0"/>
              </a:rPr>
              <a:t>geregistreerd, maar nog </a:t>
            </a:r>
            <a:r>
              <a:rPr lang="nl-NL" b="1" u="sng" dirty="0">
                <a:solidFill>
                  <a:schemeClr val="accent2"/>
                </a:solidFill>
                <a:latin typeface="Cambria" panose="02040503050406030204" pitchFamily="18" charset="0"/>
              </a:rPr>
              <a:t>niet</a:t>
            </a:r>
            <a:r>
              <a:rPr lang="nl-NL" dirty="0">
                <a:solidFill>
                  <a:schemeClr val="tx2"/>
                </a:solidFill>
                <a:latin typeface="Cambria" panose="02040503050406030204" pitchFamily="18" charset="0"/>
              </a:rPr>
              <a:t> </a:t>
            </a:r>
            <a:r>
              <a:rPr lang="nl-NL" dirty="0">
                <a:solidFill>
                  <a:srgbClr val="1D3175"/>
                </a:solidFill>
                <a:latin typeface="Cambria" panose="02040503050406030204" pitchFamily="18" charset="0"/>
              </a:rPr>
              <a:t>commercieel beschikbaar in Nederland</a:t>
            </a:r>
            <a:endParaRPr lang="nl-NL" sz="1800" dirty="0">
              <a:solidFill>
                <a:srgbClr val="1D3175"/>
              </a:solidFill>
              <a:latin typeface="Cambria" panose="02040503050406030204" pitchFamily="18" charset="0"/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xmlns="" id="{18CEFA95-3B9E-4B67-9E86-07D0563BBDAD}"/>
              </a:ext>
            </a:extLst>
          </p:cNvPr>
          <p:cNvSpPr txBox="1"/>
          <p:nvPr/>
        </p:nvSpPr>
        <p:spPr>
          <a:xfrm>
            <a:off x="3275856" y="5733256"/>
            <a:ext cx="914400" cy="91440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xmlns="" id="{8EAA8F75-A729-4F48-9C1F-DE61A1FBF921}"/>
              </a:ext>
            </a:extLst>
          </p:cNvPr>
          <p:cNvSpPr txBox="1"/>
          <p:nvPr/>
        </p:nvSpPr>
        <p:spPr>
          <a:xfrm>
            <a:off x="1043608" y="332656"/>
            <a:ext cx="4392488" cy="43204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2800" dirty="0">
                <a:solidFill>
                  <a:srgbClr val="002060"/>
                </a:solidFill>
                <a:latin typeface="Cambria" panose="02040503050406030204" pitchFamily="18" charset="0"/>
              </a:rPr>
              <a:t>Nieuw medicijn, </a:t>
            </a:r>
            <a:r>
              <a:rPr lang="nl-NL" sz="2800" dirty="0" err="1">
                <a:solidFill>
                  <a:srgbClr val="002060"/>
                </a:solidFill>
                <a:latin typeface="Cambria" panose="02040503050406030204" pitchFamily="18" charset="0"/>
              </a:rPr>
              <a:t>Numient</a:t>
            </a:r>
            <a:r>
              <a:rPr lang="nl-NL" sz="2400" dirty="0">
                <a:solidFill>
                  <a:schemeClr val="tx2"/>
                </a:solidFill>
                <a:latin typeface="Ubuntu"/>
              </a:rPr>
              <a:t>®</a:t>
            </a:r>
            <a:endParaRPr lang="nl-NL" sz="1800" dirty="0">
              <a:solidFill>
                <a:schemeClr val="tx2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8180385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xmlns="" id="{10E7DDF3-ADA1-4110-84C0-5FE2D6A1C4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13137" y="1988466"/>
            <a:ext cx="3517725" cy="2881067"/>
          </a:xfrm>
          <a:prstGeom prst="rect">
            <a:avLst/>
          </a:prstGeom>
        </p:spPr>
      </p:pic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xmlns="" id="{3E250D9D-6227-4543-9574-61A9079695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7202" y="712777"/>
            <a:ext cx="7691182" cy="4156383"/>
          </a:xfrm>
        </p:spPr>
        <p:txBody>
          <a:bodyPr/>
          <a:lstStyle/>
          <a:p>
            <a:r>
              <a:rPr lang="nl-NL" sz="2800" dirty="0"/>
              <a:t>Evenwicht acetylcholine -dopamine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xmlns="" id="{DBAFB545-F5AC-4A09-9C11-D0568F07BDC8}"/>
              </a:ext>
            </a:extLst>
          </p:cNvPr>
          <p:cNvSpPr txBox="1"/>
          <p:nvPr/>
        </p:nvSpPr>
        <p:spPr>
          <a:xfrm>
            <a:off x="4958499" y="2993010"/>
            <a:ext cx="914400" cy="91440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xmlns="" id="{88E984A5-4DFF-4F13-B6E9-F62BC32B9F50}"/>
              </a:ext>
            </a:extLst>
          </p:cNvPr>
          <p:cNvSpPr txBox="1"/>
          <p:nvPr/>
        </p:nvSpPr>
        <p:spPr>
          <a:xfrm>
            <a:off x="8820472" y="3284984"/>
            <a:ext cx="914400" cy="91440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18381078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xmlns="" id="{78F363A7-21BE-4262-9DEB-E01C2F6BFE4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7202" y="712777"/>
            <a:ext cx="8123230" cy="4588431"/>
          </a:xfrm>
        </p:spPr>
        <p:txBody>
          <a:bodyPr/>
          <a:lstStyle/>
          <a:p>
            <a:r>
              <a:rPr lang="nl-NL" sz="2800" dirty="0"/>
              <a:t>Waar is effect van pillen van afhankelijk?</a:t>
            </a:r>
          </a:p>
          <a:p>
            <a:r>
              <a:rPr lang="nl-NL" sz="2800" dirty="0"/>
              <a:t>•kinetiek</a:t>
            </a:r>
          </a:p>
          <a:p>
            <a:r>
              <a:rPr lang="nl-NL" sz="2800" dirty="0"/>
              <a:t>•Absorptie (opname)</a:t>
            </a:r>
          </a:p>
          <a:p>
            <a:r>
              <a:rPr lang="nl-NL" sz="2800" dirty="0"/>
              <a:t>•Distributie (verdeling over lichaam)</a:t>
            </a:r>
          </a:p>
          <a:p>
            <a:r>
              <a:rPr lang="nl-NL" sz="2800" dirty="0"/>
              <a:t>•Metabolisme (omzetting door lichaam)</a:t>
            </a:r>
          </a:p>
          <a:p>
            <a:r>
              <a:rPr lang="nl-NL" sz="2800" dirty="0"/>
              <a:t>•Eliminatie (uitscheiding)</a:t>
            </a:r>
          </a:p>
          <a:p>
            <a:r>
              <a:rPr lang="nl-NL" sz="2800" dirty="0" smtClean="0"/>
              <a:t>•Dynamiek</a:t>
            </a:r>
            <a:endParaRPr lang="nl-NL" sz="28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241524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vak 5">
            <a:extLst>
              <a:ext uri="{FF2B5EF4-FFF2-40B4-BE49-F238E27FC236}">
                <a16:creationId xmlns:a16="http://schemas.microsoft.com/office/drawing/2014/main" xmlns="" id="{E87E56B3-1A4F-4C58-B5A8-7303F1336412}"/>
              </a:ext>
            </a:extLst>
          </p:cNvPr>
          <p:cNvSpPr txBox="1"/>
          <p:nvPr/>
        </p:nvSpPr>
        <p:spPr>
          <a:xfrm>
            <a:off x="467544" y="1484784"/>
            <a:ext cx="8064896" cy="4176464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xmlns="" id="{6BE8C46C-AF2D-4A90-86BA-017D2976298E}"/>
              </a:ext>
            </a:extLst>
          </p:cNvPr>
          <p:cNvSpPr/>
          <p:nvPr/>
        </p:nvSpPr>
        <p:spPr>
          <a:xfrm>
            <a:off x="604357" y="692696"/>
            <a:ext cx="8208912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2400" dirty="0">
                <a:solidFill>
                  <a:schemeClr val="tx2"/>
                </a:solidFill>
                <a:latin typeface="Cambria" panose="02040503050406030204" pitchFamily="18" charset="0"/>
              </a:rPr>
              <a:t>Absorptie</a:t>
            </a:r>
          </a:p>
          <a:p>
            <a:endParaRPr lang="nl-NL" sz="2400" dirty="0">
              <a:solidFill>
                <a:schemeClr val="tx2"/>
              </a:solidFill>
              <a:latin typeface="Cambria" panose="02040503050406030204" pitchFamily="18" charset="0"/>
            </a:endParaRPr>
          </a:p>
          <a:p>
            <a:endParaRPr lang="nl-NL" sz="2400" dirty="0">
              <a:solidFill>
                <a:schemeClr val="tx2"/>
              </a:solidFill>
              <a:latin typeface="Cambria" panose="02040503050406030204" pitchFamily="18" charset="0"/>
            </a:endParaRPr>
          </a:p>
          <a:p>
            <a:r>
              <a:rPr lang="nl-NL" sz="2400" dirty="0">
                <a:solidFill>
                  <a:srgbClr val="3AAA33"/>
                </a:solidFill>
                <a:latin typeface="Arial" panose="020B0604020202020204" pitchFamily="34" charset="0"/>
              </a:rPr>
              <a:t>•</a:t>
            </a:r>
            <a:r>
              <a:rPr lang="nl-NL" sz="2400" dirty="0">
                <a:solidFill>
                  <a:srgbClr val="3AAA33"/>
                </a:solidFill>
                <a:latin typeface="Calibri" panose="020F0502020204030204" pitchFamily="34" charset="0"/>
              </a:rPr>
              <a:t>Bewegelijkheid van maagdarmstelsel</a:t>
            </a:r>
          </a:p>
          <a:p>
            <a:r>
              <a:rPr lang="nl-NL" sz="2400" dirty="0">
                <a:solidFill>
                  <a:srgbClr val="3AAA33"/>
                </a:solidFill>
                <a:latin typeface="Arial" panose="020B0604020202020204" pitchFamily="34" charset="0"/>
              </a:rPr>
              <a:t>•</a:t>
            </a:r>
            <a:r>
              <a:rPr lang="nl-NL" sz="2400" dirty="0">
                <a:solidFill>
                  <a:srgbClr val="3AAA33"/>
                </a:solidFill>
                <a:latin typeface="Calibri" panose="020F0502020204030204" pitchFamily="34" charset="0"/>
              </a:rPr>
              <a:t>Obstipatie ↓ levodopa beschikbaarheid</a:t>
            </a:r>
          </a:p>
          <a:p>
            <a:r>
              <a:rPr lang="nl-NL" sz="2400" dirty="0">
                <a:solidFill>
                  <a:srgbClr val="3AAA33"/>
                </a:solidFill>
                <a:latin typeface="Arial" panose="020B0604020202020204" pitchFamily="34" charset="0"/>
              </a:rPr>
              <a:t>•</a:t>
            </a:r>
            <a:r>
              <a:rPr lang="nl-NL" sz="2400" dirty="0">
                <a:solidFill>
                  <a:srgbClr val="3AAA33"/>
                </a:solidFill>
                <a:latin typeface="Calibri" panose="020F0502020204030204" pitchFamily="34" charset="0"/>
              </a:rPr>
              <a:t>Maaglediging bepaalt opname in darm</a:t>
            </a:r>
          </a:p>
          <a:p>
            <a:r>
              <a:rPr lang="nl-NL" sz="2400" dirty="0">
                <a:solidFill>
                  <a:srgbClr val="3AAA33"/>
                </a:solidFill>
                <a:latin typeface="Arial" panose="020B0604020202020204" pitchFamily="34" charset="0"/>
              </a:rPr>
              <a:t>•</a:t>
            </a:r>
            <a:r>
              <a:rPr lang="nl-NL" sz="2400" dirty="0">
                <a:solidFill>
                  <a:srgbClr val="3AAA33"/>
                </a:solidFill>
                <a:latin typeface="Calibri" panose="020F0502020204030204" pitchFamily="34" charset="0"/>
              </a:rPr>
              <a:t>Combinatie met voedsel</a:t>
            </a:r>
          </a:p>
          <a:p>
            <a:r>
              <a:rPr lang="nl-NL" sz="2400" dirty="0">
                <a:solidFill>
                  <a:srgbClr val="3AAA33"/>
                </a:solidFill>
                <a:latin typeface="Arial" panose="020B0604020202020204" pitchFamily="34" charset="0"/>
              </a:rPr>
              <a:t>•</a:t>
            </a:r>
            <a:r>
              <a:rPr lang="nl-NL" sz="2400" dirty="0">
                <a:solidFill>
                  <a:srgbClr val="3AAA33"/>
                </a:solidFill>
                <a:latin typeface="Calibri" panose="020F0502020204030204" pitchFamily="34" charset="0"/>
              </a:rPr>
              <a:t>inname 30min NA maaltijd 2-3 x langer voordat maximale </a:t>
            </a:r>
            <a:r>
              <a:rPr lang="nl-NL" sz="2400" dirty="0" err="1">
                <a:solidFill>
                  <a:srgbClr val="3AAA33"/>
                </a:solidFill>
                <a:latin typeface="Calibri" panose="020F0502020204030204" pitchFamily="34" charset="0"/>
              </a:rPr>
              <a:t>concis</a:t>
            </a:r>
            <a:r>
              <a:rPr lang="nl-NL" sz="2400" dirty="0">
                <a:solidFill>
                  <a:srgbClr val="3AAA33"/>
                </a:solidFill>
                <a:latin typeface="Calibri" panose="020F0502020204030204" pitchFamily="34" charset="0"/>
              </a:rPr>
              <a:t> bereikt + ↓ levodopa beschikbaarheid</a:t>
            </a:r>
          </a:p>
          <a:p>
            <a:r>
              <a:rPr lang="en-US" sz="2400" dirty="0">
                <a:solidFill>
                  <a:srgbClr val="3AAA33"/>
                </a:solidFill>
                <a:latin typeface="Arial" panose="020B0604020202020204" pitchFamily="34" charset="0"/>
              </a:rPr>
              <a:t>•</a:t>
            </a:r>
            <a:r>
              <a:rPr lang="en-US" sz="2400" dirty="0">
                <a:solidFill>
                  <a:srgbClr val="3AAA33"/>
                </a:solidFill>
                <a:latin typeface="Calibri" panose="020F0502020204030204" pitchFamily="34" charset="0"/>
              </a:rPr>
              <a:t>+ </a:t>
            </a:r>
            <a:r>
              <a:rPr lang="en-US" sz="2400" dirty="0" err="1">
                <a:solidFill>
                  <a:srgbClr val="3AAA33"/>
                </a:solidFill>
                <a:latin typeface="Calibri" panose="020F0502020204030204" pitchFamily="34" charset="0"/>
              </a:rPr>
              <a:t>eiwit</a:t>
            </a:r>
            <a:r>
              <a:rPr lang="en-US" sz="2400" dirty="0">
                <a:solidFill>
                  <a:srgbClr val="3AAA33"/>
                </a:solidFill>
                <a:latin typeface="Calibri" panose="020F0502020204030204" pitchFamily="34" charset="0"/>
              </a:rPr>
              <a:t>: </a:t>
            </a:r>
            <a:r>
              <a:rPr lang="en-US" sz="2400" dirty="0" err="1">
                <a:solidFill>
                  <a:srgbClr val="3AAA33"/>
                </a:solidFill>
                <a:latin typeface="Calibri" panose="020F0502020204030204" pitchFamily="34" charset="0"/>
              </a:rPr>
              <a:t>competitie</a:t>
            </a:r>
            <a:r>
              <a:rPr lang="en-US" sz="2400" dirty="0">
                <a:solidFill>
                  <a:srgbClr val="3AAA33"/>
                </a:solidFill>
                <a:latin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srgbClr val="3AAA33"/>
                </a:solidFill>
                <a:latin typeface="Calibri" panose="020F0502020204030204" pitchFamily="34" charset="0"/>
              </a:rPr>
              <a:t>carriersysteem</a:t>
            </a:r>
            <a:r>
              <a:rPr lang="en-US" sz="2400" dirty="0">
                <a:solidFill>
                  <a:srgbClr val="3AAA33"/>
                </a:solidFill>
                <a:latin typeface="Calibri" panose="020F0502020204030204" pitchFamily="34" charset="0"/>
              </a:rPr>
              <a:t> door mucosa</a:t>
            </a:r>
          </a:p>
          <a:p>
            <a:r>
              <a:rPr lang="nl-NL" sz="2400" dirty="0">
                <a:solidFill>
                  <a:srgbClr val="3AAA33"/>
                </a:solidFill>
                <a:latin typeface="Arial" panose="020B0604020202020204" pitchFamily="34" charset="0"/>
              </a:rPr>
              <a:t>•</a:t>
            </a:r>
            <a:r>
              <a:rPr lang="nl-NL" sz="2400" dirty="0">
                <a:solidFill>
                  <a:srgbClr val="3AAA33"/>
                </a:solidFill>
                <a:latin typeface="Calibri" panose="020F0502020204030204" pitchFamily="34" charset="0"/>
              </a:rPr>
              <a:t>Maag</a:t>
            </a:r>
          </a:p>
          <a:p>
            <a:r>
              <a:rPr lang="nl-NL" sz="2400" dirty="0">
                <a:solidFill>
                  <a:srgbClr val="3AAA33"/>
                </a:solidFill>
                <a:latin typeface="Arial" panose="020B0604020202020204" pitchFamily="34" charset="0"/>
              </a:rPr>
              <a:t>•</a:t>
            </a:r>
            <a:r>
              <a:rPr lang="nl-NL" sz="2400" dirty="0" err="1">
                <a:solidFill>
                  <a:srgbClr val="3AAA33"/>
                </a:solidFill>
                <a:latin typeface="Calibri" panose="020F0502020204030204" pitchFamily="34" charset="0"/>
              </a:rPr>
              <a:t>HelicobacterPylori</a:t>
            </a:r>
            <a:r>
              <a:rPr lang="nl-NL" sz="2400" dirty="0">
                <a:solidFill>
                  <a:srgbClr val="3AAA33"/>
                </a:solidFill>
                <a:latin typeface="Calibri" panose="020F0502020204030204" pitchFamily="34" charset="0"/>
              </a:rPr>
              <a:t> ↓ levodopa beschikbaarheid</a:t>
            </a:r>
          </a:p>
          <a:p>
            <a:r>
              <a:rPr lang="nl-NL" sz="2400" dirty="0">
                <a:solidFill>
                  <a:srgbClr val="3AAA33"/>
                </a:solidFill>
                <a:latin typeface="Arial" panose="020B0604020202020204" pitchFamily="34" charset="0"/>
              </a:rPr>
              <a:t>•</a:t>
            </a:r>
            <a:r>
              <a:rPr lang="nl-NL" sz="2400" dirty="0">
                <a:solidFill>
                  <a:srgbClr val="3AAA33"/>
                </a:solidFill>
                <a:latin typeface="Calibri" panose="020F0502020204030204" pitchFamily="34" charset="0"/>
              </a:rPr>
              <a:t>↓ pH </a:t>
            </a:r>
            <a:r>
              <a:rPr lang="nl-NL" sz="2400" dirty="0">
                <a:solidFill>
                  <a:srgbClr val="3AAA33"/>
                </a:solidFill>
                <a:latin typeface="Wingdings" panose="05000000000000000000" pitchFamily="2" charset="2"/>
              </a:rPr>
              <a:t></a:t>
            </a:r>
            <a:r>
              <a:rPr lang="nl-NL" sz="2400" dirty="0">
                <a:solidFill>
                  <a:srgbClr val="3AAA33"/>
                </a:solidFill>
                <a:latin typeface="Calibri" panose="020F0502020204030204" pitchFamily="34" charset="0"/>
              </a:rPr>
              <a:t>↓ levodopa beschikbaarheid</a:t>
            </a:r>
          </a:p>
        </p:txBody>
      </p:sp>
    </p:spTree>
    <p:extLst>
      <p:ext uri="{BB962C8B-B14F-4D97-AF65-F5344CB8AC3E}">
        <p14:creationId xmlns:p14="http://schemas.microsoft.com/office/powerpoint/2010/main" val="33879834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xmlns="" id="{B17CCE4E-5DB8-42B5-84FE-2EC7D6CA32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7202" y="764704"/>
            <a:ext cx="7907206" cy="5040560"/>
          </a:xfrm>
        </p:spPr>
        <p:txBody>
          <a:bodyPr/>
          <a:lstStyle/>
          <a:p>
            <a:r>
              <a:rPr lang="nl-NL" sz="2400" dirty="0" smtClean="0">
                <a:solidFill>
                  <a:schemeClr val="tx2"/>
                </a:solidFill>
              </a:rPr>
              <a:t>Wisselwerking: levodopa–maagbeschermer</a:t>
            </a:r>
            <a:endParaRPr lang="nl-NL" sz="2400" dirty="0">
              <a:solidFill>
                <a:schemeClr val="tx2"/>
              </a:solidFill>
            </a:endParaRPr>
          </a:p>
          <a:p>
            <a:r>
              <a:rPr lang="nl-NL" sz="2400" dirty="0" smtClean="0"/>
              <a:t>• Opname </a:t>
            </a:r>
            <a:r>
              <a:rPr lang="nl-NL" sz="2400" dirty="0"/>
              <a:t>levodopa via carriersysteem</a:t>
            </a:r>
          </a:p>
          <a:p>
            <a:r>
              <a:rPr lang="nl-NL" sz="2400" dirty="0" smtClean="0"/>
              <a:t>• Maagbeschermers beïnvloeden de zuurgraad in de maag en darmen </a:t>
            </a:r>
            <a:r>
              <a:rPr lang="nl-NL" sz="2400" dirty="0" smtClean="0">
                <a:sym typeface="Wingdings" panose="05000000000000000000" pitchFamily="2" charset="2"/>
              </a:rPr>
              <a:t> effect op levodopa</a:t>
            </a:r>
            <a:endParaRPr lang="nl-NL" sz="2400" dirty="0"/>
          </a:p>
          <a:p>
            <a:r>
              <a:rPr lang="nl-NL" sz="2400" dirty="0"/>
              <a:t>•</a:t>
            </a:r>
            <a:r>
              <a:rPr lang="nl-NL" sz="2400" b="1" dirty="0"/>
              <a:t>Oplossingen:</a:t>
            </a:r>
          </a:p>
          <a:p>
            <a:r>
              <a:rPr lang="nl-NL" sz="2400" dirty="0" smtClean="0"/>
              <a:t>• Indien mogelijk proton </a:t>
            </a:r>
            <a:r>
              <a:rPr lang="nl-NL" sz="2400" dirty="0"/>
              <a:t>pompremmer stoppen</a:t>
            </a:r>
          </a:p>
          <a:p>
            <a:r>
              <a:rPr lang="nl-NL" sz="2400" dirty="0" smtClean="0"/>
              <a:t>• Omzetten naar H2 </a:t>
            </a:r>
            <a:r>
              <a:rPr lang="nl-NL" sz="2400" dirty="0"/>
              <a:t>–antagonist </a:t>
            </a:r>
          </a:p>
          <a:p>
            <a:r>
              <a:rPr lang="nl-NL" sz="2400" dirty="0" smtClean="0"/>
              <a:t>• Domperidon</a:t>
            </a:r>
            <a:endParaRPr lang="nl-NL" sz="24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719855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xmlns="" id="{FBB214FC-57A6-4573-AFDD-AAF34670BE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5" y="548680"/>
            <a:ext cx="8568952" cy="5472608"/>
          </a:xfrm>
        </p:spPr>
        <p:txBody>
          <a:bodyPr/>
          <a:lstStyle/>
          <a:p>
            <a:r>
              <a:rPr lang="nl-NL" sz="1800" b="1" dirty="0" smtClean="0">
                <a:solidFill>
                  <a:schemeClr val="tx2"/>
                </a:solidFill>
              </a:rPr>
              <a:t>Langdurige combinatie: levodopa –protonpompremmer(PP</a:t>
            </a:r>
            <a:r>
              <a:rPr lang="nl-NL" sz="1800" b="1" dirty="0" smtClean="0">
                <a:solidFill>
                  <a:schemeClr val="accent4"/>
                </a:solidFill>
              </a:rPr>
              <a:t>I)</a:t>
            </a:r>
          </a:p>
          <a:p>
            <a:r>
              <a:rPr lang="nl-NL" sz="1800" dirty="0" smtClean="0"/>
              <a:t>•PPI: afname vitamineB12 opname</a:t>
            </a:r>
            <a:endParaRPr lang="nl-NL" sz="1800" dirty="0"/>
          </a:p>
          <a:p>
            <a:r>
              <a:rPr lang="nl-NL" sz="1800" dirty="0" smtClean="0"/>
              <a:t>• Levodopa </a:t>
            </a:r>
            <a:r>
              <a:rPr lang="nl-NL" sz="1800" dirty="0"/>
              <a:t>gebruik: </a:t>
            </a:r>
            <a:r>
              <a:rPr lang="nl-NL" sz="1800" dirty="0" smtClean="0"/>
              <a:t>hoger vitamine </a:t>
            </a:r>
            <a:r>
              <a:rPr lang="nl-NL" sz="1800" dirty="0"/>
              <a:t>B12 </a:t>
            </a:r>
            <a:r>
              <a:rPr lang="nl-NL" sz="1800" dirty="0" smtClean="0"/>
              <a:t>verbruik</a:t>
            </a:r>
            <a:endParaRPr lang="nl-NL" sz="1800" dirty="0"/>
          </a:p>
          <a:p>
            <a:r>
              <a:rPr lang="nl-NL" sz="1800" dirty="0" smtClean="0"/>
              <a:t>• Oplossingen</a:t>
            </a:r>
            <a:r>
              <a:rPr lang="nl-NL" sz="1800" dirty="0"/>
              <a:t>:</a:t>
            </a:r>
          </a:p>
          <a:p>
            <a:r>
              <a:rPr lang="nl-NL" sz="1800" dirty="0" smtClean="0"/>
              <a:t>• Controle </a:t>
            </a:r>
            <a:r>
              <a:rPr lang="nl-NL" sz="1800" dirty="0"/>
              <a:t>lab (Hb,B12, </a:t>
            </a:r>
            <a:r>
              <a:rPr lang="nl-NL" sz="1800" dirty="0" err="1"/>
              <a:t>methylmalonzuur</a:t>
            </a:r>
            <a:r>
              <a:rPr lang="nl-NL" sz="1800" dirty="0"/>
              <a:t>)</a:t>
            </a:r>
          </a:p>
          <a:p>
            <a:r>
              <a:rPr lang="nl-NL" sz="1800" dirty="0" smtClean="0"/>
              <a:t>• Indien mogelijk maagbeschermer afbouwen</a:t>
            </a:r>
            <a:r>
              <a:rPr lang="nl-NL" sz="1800" dirty="0"/>
              <a:t>/ stoppen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148685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xmlns="" id="{536C4ABE-A9B2-4F07-8497-9FC92E6CF8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7202" y="712777"/>
            <a:ext cx="8195238" cy="5164495"/>
          </a:xfrm>
        </p:spPr>
        <p:txBody>
          <a:bodyPr/>
          <a:lstStyle/>
          <a:p>
            <a:r>
              <a:rPr lang="nl-NL" sz="2400" dirty="0">
                <a:solidFill>
                  <a:schemeClr val="accent4"/>
                </a:solidFill>
              </a:rPr>
              <a:t>Interactie: levodopa -ijzer</a:t>
            </a:r>
          </a:p>
          <a:p>
            <a:r>
              <a:rPr lang="nl-NL" sz="2400" dirty="0" smtClean="0"/>
              <a:t>• ijzerhoudende geneesmiddelen</a:t>
            </a:r>
            <a:endParaRPr lang="nl-NL" sz="2400" dirty="0"/>
          </a:p>
          <a:p>
            <a:r>
              <a:rPr lang="nl-NL" sz="2400" dirty="0" smtClean="0"/>
              <a:t>• Vermindering opname-levodopa: levodopa 2 </a:t>
            </a:r>
            <a:r>
              <a:rPr lang="nl-NL" sz="2400" dirty="0"/>
              <a:t>uur voor </a:t>
            </a:r>
            <a:r>
              <a:rPr lang="nl-NL" sz="2400" dirty="0" smtClean="0"/>
              <a:t>    ijzer innemen</a:t>
            </a:r>
            <a:endParaRPr lang="nl-NL" sz="2400" dirty="0"/>
          </a:p>
          <a:p>
            <a:r>
              <a:rPr lang="nl-NL" sz="2400" dirty="0"/>
              <a:t>•</a:t>
            </a:r>
            <a:r>
              <a:rPr lang="nl-NL" sz="2400" dirty="0" err="1"/>
              <a:t>Retard</a:t>
            </a:r>
            <a:r>
              <a:rPr lang="nl-NL" sz="2400" dirty="0"/>
              <a:t> </a:t>
            </a:r>
            <a:r>
              <a:rPr lang="nl-NL" sz="2400" dirty="0" smtClean="0"/>
              <a:t>preparaat van </a:t>
            </a:r>
            <a:r>
              <a:rPr lang="nl-NL" sz="2400" dirty="0" err="1" smtClean="0"/>
              <a:t>Ijzer</a:t>
            </a:r>
            <a:r>
              <a:rPr lang="nl-NL" sz="2400" dirty="0" smtClean="0"/>
              <a:t> geen oplossing!</a:t>
            </a:r>
            <a:endParaRPr lang="nl-NL" sz="2400" dirty="0"/>
          </a:p>
          <a:p>
            <a:r>
              <a:rPr lang="nl-NL" sz="2400" dirty="0"/>
              <a:t>•</a:t>
            </a:r>
            <a:r>
              <a:rPr lang="nl-NL" sz="2400" dirty="0" smtClean="0"/>
              <a:t>Oplossingen: Voor de nacht/tijdens de nacht innemen</a:t>
            </a:r>
            <a:endParaRPr lang="nl-NL" sz="2400" dirty="0"/>
          </a:p>
          <a:p>
            <a:r>
              <a:rPr lang="nl-NL" sz="2400" dirty="0" smtClean="0"/>
              <a:t>• </a:t>
            </a:r>
            <a:r>
              <a:rPr lang="nl-NL" sz="2400" dirty="0" err="1" smtClean="0"/>
              <a:t>Ijzer</a:t>
            </a:r>
            <a:r>
              <a:rPr lang="nl-NL" sz="2400" dirty="0" smtClean="0"/>
              <a:t> per infuus</a:t>
            </a:r>
            <a:endParaRPr lang="nl-NL" sz="24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294083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xmlns="" id="{2A60B58A-B3A5-4CA1-8449-C982916D8B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7202" y="712777"/>
            <a:ext cx="8483270" cy="5812567"/>
          </a:xfrm>
        </p:spPr>
        <p:txBody>
          <a:bodyPr/>
          <a:lstStyle/>
          <a:p>
            <a:r>
              <a:rPr lang="nl-NL" sz="2400" dirty="0">
                <a:solidFill>
                  <a:schemeClr val="accent4"/>
                </a:solidFill>
              </a:rPr>
              <a:t>Interactie: </a:t>
            </a:r>
            <a:r>
              <a:rPr lang="nl-NL" sz="2400" dirty="0" err="1">
                <a:solidFill>
                  <a:schemeClr val="accent4"/>
                </a:solidFill>
              </a:rPr>
              <a:t>clozapine</a:t>
            </a:r>
            <a:r>
              <a:rPr lang="nl-NL" sz="2400" dirty="0">
                <a:solidFill>
                  <a:schemeClr val="accent4"/>
                </a:solidFill>
              </a:rPr>
              <a:t> –omeprazol</a:t>
            </a:r>
          </a:p>
          <a:p>
            <a:r>
              <a:rPr lang="nl-NL" sz="1600" dirty="0" smtClean="0"/>
              <a:t>• Omeprazol stimuleert CYP1A2 </a:t>
            </a:r>
            <a:endParaRPr lang="nl-NL" sz="1600" dirty="0"/>
          </a:p>
          <a:p>
            <a:r>
              <a:rPr lang="nl-NL" sz="1600" dirty="0" smtClean="0"/>
              <a:t>• </a:t>
            </a:r>
            <a:r>
              <a:rPr lang="nl-NL" sz="1600" dirty="0" err="1" smtClean="0"/>
              <a:t>Clozapine</a:t>
            </a:r>
            <a:r>
              <a:rPr lang="nl-NL" sz="1600" dirty="0" smtClean="0"/>
              <a:t> </a:t>
            </a:r>
            <a:r>
              <a:rPr lang="nl-NL" sz="1600" dirty="0"/>
              <a:t>wordt afgebroken via dit </a:t>
            </a:r>
            <a:r>
              <a:rPr lang="nl-NL" sz="1600" dirty="0" smtClean="0"/>
              <a:t>leverenzym</a:t>
            </a:r>
            <a:endParaRPr lang="nl-NL" sz="1600" dirty="0"/>
          </a:p>
          <a:p>
            <a:r>
              <a:rPr lang="nl-NL" sz="1600" dirty="0"/>
              <a:t>Gevolg</a:t>
            </a:r>
            <a:r>
              <a:rPr lang="nl-NL" sz="1600" dirty="0" smtClean="0"/>
              <a:t>; daling </a:t>
            </a:r>
            <a:r>
              <a:rPr lang="nl-NL" sz="1600" dirty="0"/>
              <a:t>spiegel </a:t>
            </a:r>
            <a:r>
              <a:rPr lang="nl-NL" sz="1600" dirty="0" err="1"/>
              <a:t>clozapine</a:t>
            </a:r>
            <a:r>
              <a:rPr lang="nl-NL" sz="1600" dirty="0"/>
              <a:t> 20-60%</a:t>
            </a:r>
          </a:p>
          <a:p>
            <a:r>
              <a:rPr lang="nl-NL" sz="1600" dirty="0"/>
              <a:t>•Echter; Alleen bekeken in patiënten met </a:t>
            </a:r>
            <a:r>
              <a:rPr lang="nl-NL" sz="1600" dirty="0" err="1"/>
              <a:t>psychoaffectieve</a:t>
            </a:r>
            <a:r>
              <a:rPr lang="nl-NL" sz="1600" dirty="0"/>
              <a:t> stoornissen </a:t>
            </a:r>
            <a:endParaRPr lang="nl-NL" sz="1600" dirty="0" smtClean="0"/>
          </a:p>
          <a:p>
            <a:r>
              <a:rPr lang="nl-NL" sz="1600" dirty="0" smtClean="0"/>
              <a:t>Oplossingen</a:t>
            </a:r>
            <a:r>
              <a:rPr lang="nl-NL" sz="1600" dirty="0"/>
              <a:t>: </a:t>
            </a:r>
            <a:r>
              <a:rPr lang="nl-NL" sz="1600" dirty="0" smtClean="0"/>
              <a:t> stoppen/afbouwen omeprazol of</a:t>
            </a:r>
            <a:r>
              <a:rPr lang="nl-NL" sz="1600" dirty="0" smtClean="0">
                <a:sym typeface="Wingdings" panose="05000000000000000000" pitchFamily="2" charset="2"/>
              </a:rPr>
              <a:t> s</a:t>
            </a:r>
            <a:r>
              <a:rPr lang="nl-NL" sz="1600" dirty="0" smtClean="0"/>
              <a:t>witchen naar </a:t>
            </a:r>
            <a:r>
              <a:rPr lang="nl-NL" sz="1600" dirty="0" err="1"/>
              <a:t>p</a:t>
            </a:r>
            <a:r>
              <a:rPr lang="nl-NL" sz="1600" dirty="0" err="1" smtClean="0"/>
              <a:t>antoprazol</a:t>
            </a:r>
            <a:endParaRPr lang="nl-NL" sz="1600" dirty="0" smtClean="0"/>
          </a:p>
          <a:p>
            <a:r>
              <a:rPr lang="nl-NL" sz="1600" dirty="0" smtClean="0"/>
              <a:t>•</a:t>
            </a:r>
            <a:r>
              <a:rPr lang="nl-NL" sz="1600" dirty="0" err="1" smtClean="0"/>
              <a:t>Clozapine</a:t>
            </a:r>
            <a:r>
              <a:rPr lang="nl-NL" sz="1600" dirty="0" smtClean="0"/>
              <a:t> dosering ophogen</a:t>
            </a: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41809077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xmlns="" id="{00EA06F7-F9CD-4383-A091-67D7B9ACEE5C}"/>
              </a:ext>
            </a:extLst>
          </p:cNvPr>
          <p:cNvSpPr/>
          <p:nvPr/>
        </p:nvSpPr>
        <p:spPr>
          <a:xfrm>
            <a:off x="2987824" y="6237312"/>
            <a:ext cx="2736304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0" dirty="0">
              <a:solidFill>
                <a:schemeClr val="tx1"/>
              </a:solidFill>
            </a:endParaRP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xmlns="" id="{7236E0F0-D6E3-480A-A23B-7925913701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1114" y="1009643"/>
            <a:ext cx="4889723" cy="5371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6801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xmlns="" id="{BD4A9121-2D6B-4914-BC26-66FAAE3868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7202" y="908720"/>
            <a:ext cx="7331142" cy="1152128"/>
          </a:xfrm>
        </p:spPr>
        <p:txBody>
          <a:bodyPr/>
          <a:lstStyle/>
          <a:p>
            <a:r>
              <a:rPr lang="nl-NL" sz="2800" dirty="0">
                <a:solidFill>
                  <a:srgbClr val="1D3175"/>
                </a:solidFill>
                <a:latin typeface="Cambria" panose="02040503050406030204" pitchFamily="18" charset="0"/>
              </a:rPr>
              <a:t>DE ROL VAN DE PARKINSON APOTHEKER</a:t>
            </a:r>
          </a:p>
          <a:p>
            <a:endParaRPr lang="nl-NL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xmlns="" id="{84440516-116D-47C5-B29D-020C39AE34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39552" y="1484784"/>
            <a:ext cx="7128792" cy="4104456"/>
          </a:xfrm>
        </p:spPr>
        <p:txBody>
          <a:bodyPr anchor="ctr"/>
          <a:lstStyle/>
          <a:p>
            <a:pPr lvl="0">
              <a:buFont typeface="Arial" panose="020B0604020202020204" pitchFamily="34" charset="0"/>
              <a:buChar char="•"/>
            </a:pPr>
            <a:r>
              <a:rPr lang="nl-NL" b="0" dirty="0" smtClean="0">
                <a:solidFill>
                  <a:srgbClr val="3AAA33"/>
                </a:solidFill>
              </a:rPr>
              <a:t>Kwaliteit </a:t>
            </a:r>
            <a:r>
              <a:rPr lang="nl-NL" b="0" dirty="0">
                <a:solidFill>
                  <a:srgbClr val="3AAA33"/>
                </a:solidFill>
              </a:rPr>
              <a:t>van leven </a:t>
            </a:r>
            <a:r>
              <a:rPr lang="nl-NL" b="0" dirty="0" smtClean="0">
                <a:solidFill>
                  <a:srgbClr val="3AAA33"/>
                </a:solidFill>
              </a:rPr>
              <a:t>verbeteren</a:t>
            </a:r>
          </a:p>
          <a:p>
            <a:pPr marL="0" lvl="0" indent="0"/>
            <a:endParaRPr lang="nl-NL" b="0" dirty="0">
              <a:solidFill>
                <a:srgbClr val="3AAA33"/>
              </a:solidFill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nl-NL" b="0" dirty="0">
                <a:solidFill>
                  <a:srgbClr val="3AAA33"/>
                </a:solidFill>
              </a:rPr>
              <a:t>On/off en spierstijfheid </a:t>
            </a:r>
            <a:r>
              <a:rPr lang="nl-NL" b="0" dirty="0" smtClean="0">
                <a:solidFill>
                  <a:srgbClr val="3AAA33"/>
                </a:solidFill>
              </a:rPr>
              <a:t>aanpakken</a:t>
            </a:r>
          </a:p>
          <a:p>
            <a:pPr marL="0" lvl="0" indent="0"/>
            <a:r>
              <a:rPr lang="nl-NL" b="0" dirty="0" smtClean="0">
                <a:solidFill>
                  <a:srgbClr val="3AAA33"/>
                </a:solidFill>
              </a:rPr>
              <a:t> </a:t>
            </a:r>
            <a:endParaRPr lang="nl-NL" b="0" dirty="0">
              <a:solidFill>
                <a:srgbClr val="3AAA33"/>
              </a:solidFill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nl-NL" b="0" dirty="0">
                <a:solidFill>
                  <a:srgbClr val="3AAA33"/>
                </a:solidFill>
              </a:rPr>
              <a:t>Behandelplan </a:t>
            </a:r>
            <a:r>
              <a:rPr lang="nl-NL" b="0" dirty="0" smtClean="0">
                <a:solidFill>
                  <a:srgbClr val="3AAA33"/>
                </a:solidFill>
              </a:rPr>
              <a:t>maken</a:t>
            </a:r>
          </a:p>
          <a:p>
            <a:pPr marL="0" lvl="0" indent="0"/>
            <a:endParaRPr lang="nl-NL" b="0" dirty="0">
              <a:solidFill>
                <a:srgbClr val="3AAA33"/>
              </a:solidFill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nl-NL" b="0" dirty="0">
                <a:solidFill>
                  <a:srgbClr val="3AAA33"/>
                </a:solidFill>
              </a:rPr>
              <a:t>Persoonlijke situatie </a:t>
            </a:r>
            <a:r>
              <a:rPr lang="nl-NL" b="0" dirty="0" smtClean="0">
                <a:solidFill>
                  <a:srgbClr val="3AAA33"/>
                </a:solidFill>
              </a:rPr>
              <a:t>bespreken</a:t>
            </a:r>
          </a:p>
          <a:p>
            <a:pPr marL="0" lvl="0" indent="0"/>
            <a:endParaRPr lang="nl-NL" b="0" dirty="0">
              <a:solidFill>
                <a:srgbClr val="3AAA33"/>
              </a:solidFill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nl-NL" b="0" dirty="0">
                <a:solidFill>
                  <a:srgbClr val="3AAA33"/>
                </a:solidFill>
              </a:rPr>
              <a:t>Zorgen over medicatie </a:t>
            </a:r>
            <a:r>
              <a:rPr lang="nl-NL" b="0" dirty="0" smtClean="0">
                <a:solidFill>
                  <a:srgbClr val="3AAA33"/>
                </a:solidFill>
              </a:rPr>
              <a:t>wegnemen</a:t>
            </a:r>
          </a:p>
          <a:p>
            <a:pPr lvl="0">
              <a:buFont typeface="Arial" panose="020B0604020202020204" pitchFamily="34" charset="0"/>
              <a:buChar char="•"/>
            </a:pPr>
            <a:endParaRPr lang="nl-NL" b="0" dirty="0">
              <a:solidFill>
                <a:srgbClr val="3AAA33"/>
              </a:solidFill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nl-NL" b="0" dirty="0" smtClean="0">
                <a:solidFill>
                  <a:srgbClr val="3AAA33"/>
                </a:solidFill>
              </a:rPr>
              <a:t>Vraagbak </a:t>
            </a:r>
            <a:r>
              <a:rPr lang="nl-NL" b="0" dirty="0">
                <a:solidFill>
                  <a:srgbClr val="3AAA33"/>
                </a:solidFill>
              </a:rPr>
              <a:t>bij wisselingen van </a:t>
            </a:r>
            <a:r>
              <a:rPr lang="nl-NL" b="0" dirty="0" smtClean="0">
                <a:solidFill>
                  <a:srgbClr val="3AAA33"/>
                </a:solidFill>
              </a:rPr>
              <a:t>labels</a:t>
            </a:r>
          </a:p>
          <a:p>
            <a:pPr lvl="0">
              <a:buFont typeface="Arial" panose="020B0604020202020204" pitchFamily="34" charset="0"/>
              <a:buChar char="•"/>
            </a:pPr>
            <a:endParaRPr lang="nl-NL" b="0" dirty="0">
              <a:solidFill>
                <a:srgbClr val="3AAA33"/>
              </a:solidFill>
            </a:endParaRPr>
          </a:p>
          <a:p>
            <a:pPr lvl="0">
              <a:buFont typeface="Arial" panose="020B0604020202020204" pitchFamily="34" charset="0"/>
              <a:buChar char="•"/>
            </a:pPr>
            <a:r>
              <a:rPr lang="nl-NL" b="0" dirty="0" smtClean="0">
                <a:solidFill>
                  <a:srgbClr val="3AAA33"/>
                </a:solidFill>
              </a:rPr>
              <a:t>Inzicht </a:t>
            </a:r>
            <a:r>
              <a:rPr lang="nl-NL" b="0" dirty="0">
                <a:solidFill>
                  <a:srgbClr val="3AAA33"/>
                </a:solidFill>
              </a:rPr>
              <a:t>bieden over nieuwe farmaceutische ontwikkelingen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xmlns="" id="{6AF03B72-05E7-4000-A2E8-9CF7F9F343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457825"/>
            <a:ext cx="9036496" cy="1400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081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xmlns="" id="{02CC6F34-4104-41D2-8148-17F3CC28EFFF}"/>
              </a:ext>
            </a:extLst>
          </p:cNvPr>
          <p:cNvSpPr txBox="1"/>
          <p:nvPr/>
        </p:nvSpPr>
        <p:spPr>
          <a:xfrm>
            <a:off x="166922" y="1052736"/>
            <a:ext cx="8961353" cy="79208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2400" dirty="0">
                <a:solidFill>
                  <a:srgbClr val="002060"/>
                </a:solidFill>
                <a:latin typeface="Cambria" panose="02040503050406030204" pitchFamily="18" charset="0"/>
              </a:rPr>
              <a:t>Het doel is  om de Kwaliteit van leven van een Parkinson patiënt te verbeteren! 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xmlns="" id="{28E3738B-2403-452C-82A2-3C4B41DF3CDC}"/>
              </a:ext>
            </a:extLst>
          </p:cNvPr>
          <p:cNvSpPr txBox="1"/>
          <p:nvPr/>
        </p:nvSpPr>
        <p:spPr>
          <a:xfrm>
            <a:off x="683568" y="1196752"/>
            <a:ext cx="7488832" cy="115212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xmlns="" id="{C6D89AF2-6DDD-4351-9C39-FC55FF9AB7A0}"/>
              </a:ext>
            </a:extLst>
          </p:cNvPr>
          <p:cNvSpPr txBox="1"/>
          <p:nvPr/>
        </p:nvSpPr>
        <p:spPr>
          <a:xfrm>
            <a:off x="395536" y="2132856"/>
            <a:ext cx="7920880" cy="2664296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xmlns="" id="{5F56BCCE-86C2-45E7-B7F7-B4B58093F1A1}"/>
              </a:ext>
            </a:extLst>
          </p:cNvPr>
          <p:cNvSpPr txBox="1"/>
          <p:nvPr/>
        </p:nvSpPr>
        <p:spPr>
          <a:xfrm>
            <a:off x="323528" y="2348880"/>
            <a:ext cx="7992888" cy="180020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xmlns="" id="{74ACBDED-34A8-4A4F-AFF5-4520177566CE}"/>
              </a:ext>
            </a:extLst>
          </p:cNvPr>
          <p:cNvSpPr txBox="1"/>
          <p:nvPr/>
        </p:nvSpPr>
        <p:spPr>
          <a:xfrm>
            <a:off x="683568" y="2492896"/>
            <a:ext cx="7920880" cy="216024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xmlns="" id="{BB04EE82-5075-432D-95DE-E8018CE9165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56625354"/>
              </p:ext>
            </p:extLst>
          </p:nvPr>
        </p:nvGraphicFramePr>
        <p:xfrm>
          <a:off x="942537" y="1628800"/>
          <a:ext cx="6754870" cy="2880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kstvak 8">
            <a:extLst>
              <a:ext uri="{FF2B5EF4-FFF2-40B4-BE49-F238E27FC236}">
                <a16:creationId xmlns:a16="http://schemas.microsoft.com/office/drawing/2014/main" xmlns="" id="{1ECC7C2D-C3CC-40A3-A896-D37B5A313840}"/>
              </a:ext>
            </a:extLst>
          </p:cNvPr>
          <p:cNvSpPr txBox="1"/>
          <p:nvPr/>
        </p:nvSpPr>
        <p:spPr>
          <a:xfrm>
            <a:off x="683568" y="5733256"/>
            <a:ext cx="7344816" cy="91440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xmlns="" id="{FEF2D4FD-32CB-4593-B2AE-2DBA147661C0}"/>
              </a:ext>
            </a:extLst>
          </p:cNvPr>
          <p:cNvSpPr txBox="1"/>
          <p:nvPr/>
        </p:nvSpPr>
        <p:spPr>
          <a:xfrm>
            <a:off x="166922" y="4581128"/>
            <a:ext cx="8685910" cy="172819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r>
              <a:rPr lang="nl-NL" sz="2400" dirty="0">
                <a:solidFill>
                  <a:srgbClr val="002060"/>
                </a:solidFill>
                <a:latin typeface="Cambria" panose="02040503050406030204" pitchFamily="18" charset="0"/>
              </a:rPr>
              <a:t>Er is een enorme </a:t>
            </a:r>
            <a:r>
              <a:rPr lang="nl-NL" sz="2400" i="1" dirty="0">
                <a:solidFill>
                  <a:srgbClr val="002060"/>
                </a:solidFill>
                <a:latin typeface="Cambria" panose="02040503050406030204" pitchFamily="18" charset="0"/>
              </a:rPr>
              <a:t>onder behandeling</a:t>
            </a:r>
            <a:r>
              <a:rPr lang="nl-NL" sz="2400" dirty="0">
                <a:solidFill>
                  <a:srgbClr val="002060"/>
                </a:solidFill>
                <a:latin typeface="Cambria" panose="02040503050406030204" pitchFamily="18" charset="0"/>
              </a:rPr>
              <a:t> van </a:t>
            </a:r>
            <a:r>
              <a:rPr lang="nl-NL" sz="2400" dirty="0" smtClean="0">
                <a:solidFill>
                  <a:srgbClr val="002060"/>
                </a:solidFill>
                <a:latin typeface="Cambria" panose="02040503050406030204" pitchFamily="18" charset="0"/>
              </a:rPr>
              <a:t>Parkinson: </a:t>
            </a:r>
          </a:p>
          <a:p>
            <a:r>
              <a:rPr lang="nl-NL" sz="2400" dirty="0" smtClean="0">
                <a:solidFill>
                  <a:srgbClr val="002060"/>
                </a:solidFill>
                <a:latin typeface="Cambria" panose="02040503050406030204" pitchFamily="18" charset="0"/>
              </a:rPr>
              <a:t>1 op de 3 patiënten heeft  on/off fluctuaties</a:t>
            </a:r>
          </a:p>
          <a:p>
            <a:endParaRPr lang="nl-NL" sz="2400" dirty="0">
              <a:solidFill>
                <a:srgbClr val="002060"/>
              </a:solidFill>
              <a:latin typeface="Cambria" panose="02040503050406030204" pitchFamily="18" charset="0"/>
            </a:endParaRPr>
          </a:p>
          <a:p>
            <a:r>
              <a:rPr lang="nl-NL" sz="2400" dirty="0" smtClean="0">
                <a:solidFill>
                  <a:srgbClr val="002060"/>
                </a:solidFill>
                <a:latin typeface="Cambria" panose="02040503050406030204" pitchFamily="18" charset="0"/>
              </a:rPr>
              <a:t>Deze </a:t>
            </a:r>
            <a:r>
              <a:rPr lang="nl-NL" sz="2400" dirty="0" err="1" smtClean="0">
                <a:solidFill>
                  <a:srgbClr val="002060"/>
                </a:solidFill>
                <a:latin typeface="Cambria" panose="02040503050406030204" pitchFamily="18" charset="0"/>
              </a:rPr>
              <a:t>onderbehandeling</a:t>
            </a:r>
            <a:r>
              <a:rPr lang="nl-NL" sz="2400" dirty="0" smtClean="0">
                <a:solidFill>
                  <a:srgbClr val="002060"/>
                </a:solidFill>
                <a:latin typeface="Cambria" panose="02040503050406030204" pitchFamily="18" charset="0"/>
              </a:rPr>
              <a:t> </a:t>
            </a:r>
            <a:r>
              <a:rPr lang="nl-NL" sz="2400" dirty="0">
                <a:solidFill>
                  <a:srgbClr val="002060"/>
                </a:solidFill>
                <a:latin typeface="Cambria" panose="02040503050406030204" pitchFamily="18" charset="0"/>
              </a:rPr>
              <a:t>omzetten in een betere Individuele</a:t>
            </a:r>
            <a:r>
              <a:rPr lang="nl-NL" sz="2400" i="1" dirty="0">
                <a:solidFill>
                  <a:srgbClr val="002060"/>
                </a:solidFill>
                <a:latin typeface="Cambria" panose="02040503050406030204" pitchFamily="18" charset="0"/>
              </a:rPr>
              <a:t> Farmacotherapie</a:t>
            </a:r>
          </a:p>
        </p:txBody>
      </p:sp>
    </p:spTree>
    <p:extLst>
      <p:ext uri="{BB962C8B-B14F-4D97-AF65-F5344CB8AC3E}">
        <p14:creationId xmlns:p14="http://schemas.microsoft.com/office/powerpoint/2010/main" val="10673941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xmlns="" id="{6565F0A0-30A2-40F5-B321-0E7DFBAA32A0}"/>
              </a:ext>
            </a:extLst>
          </p:cNvPr>
          <p:cNvSpPr txBox="1"/>
          <p:nvPr/>
        </p:nvSpPr>
        <p:spPr>
          <a:xfrm>
            <a:off x="683568" y="908720"/>
            <a:ext cx="8280920" cy="72008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2800" dirty="0">
                <a:solidFill>
                  <a:srgbClr val="002060"/>
                </a:solidFill>
                <a:latin typeface="Cambria" panose="02040503050406030204" pitchFamily="18" charset="0"/>
              </a:rPr>
              <a:t>Hoe Individueel behandelen?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xmlns="" id="{301B1D03-702E-4DBA-83AD-DB9C79E39800}"/>
              </a:ext>
            </a:extLst>
          </p:cNvPr>
          <p:cNvSpPr txBox="1"/>
          <p:nvPr/>
        </p:nvSpPr>
        <p:spPr>
          <a:xfrm>
            <a:off x="179512" y="2132856"/>
            <a:ext cx="8640960" cy="4176464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B5C1FAFD-6E4F-4D27-932A-A6B73018E0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0010707"/>
              </p:ext>
            </p:extLst>
          </p:nvPr>
        </p:nvGraphicFramePr>
        <p:xfrm>
          <a:off x="539552" y="1628800"/>
          <a:ext cx="8280920" cy="49385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537196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xmlns="" id="{CB3DBFBD-39A4-4334-93BF-08B2F1FADEDF}"/>
              </a:ext>
            </a:extLst>
          </p:cNvPr>
          <p:cNvSpPr txBox="1"/>
          <p:nvPr/>
        </p:nvSpPr>
        <p:spPr>
          <a:xfrm>
            <a:off x="-128845" y="908720"/>
            <a:ext cx="8409765" cy="100811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</a:pPr>
            <a:r>
              <a:rPr lang="nl-NL" dirty="0">
                <a:latin typeface="Cambria" panose="02040503050406030204" pitchFamily="18" charset="0"/>
                <a:cs typeface="Calibri" panose="020F0502020204030204" pitchFamily="34" charset="0"/>
              </a:rPr>
              <a:t>	Wij weten nu dat er een relatie bestaat in behandeling die als het ware zoals communicerende vaten met elkaar zijn verbonden</a:t>
            </a:r>
            <a:endParaRPr lang="nl-NL" sz="18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xmlns="" id="{A7B90582-5A9A-483E-AA79-5E1BC50B7F87}"/>
              </a:ext>
            </a:extLst>
          </p:cNvPr>
          <p:cNvSpPr txBox="1"/>
          <p:nvPr/>
        </p:nvSpPr>
        <p:spPr>
          <a:xfrm>
            <a:off x="539552" y="1916832"/>
            <a:ext cx="7992888" cy="424847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A9F4B480-A793-4E42-BE72-1175C45456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7096266"/>
              </p:ext>
            </p:extLst>
          </p:nvPr>
        </p:nvGraphicFramePr>
        <p:xfrm>
          <a:off x="548101" y="1677328"/>
          <a:ext cx="7293133" cy="39024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kstvak 4">
            <a:extLst>
              <a:ext uri="{FF2B5EF4-FFF2-40B4-BE49-F238E27FC236}">
                <a16:creationId xmlns:a16="http://schemas.microsoft.com/office/drawing/2014/main" xmlns="" id="{0CEE7403-8C90-4E06-A145-E6E688A44BD5}"/>
              </a:ext>
            </a:extLst>
          </p:cNvPr>
          <p:cNvSpPr txBox="1"/>
          <p:nvPr/>
        </p:nvSpPr>
        <p:spPr>
          <a:xfrm>
            <a:off x="5364088" y="3356992"/>
            <a:ext cx="864096" cy="72008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pic>
        <p:nvPicPr>
          <p:cNvPr id="6" name="Picture 4" descr="C:\Program Files (x86)\Microsoft Office\MEDIA\CAGCAT10\j0199755.wmf">
            <a:extLst>
              <a:ext uri="{FF2B5EF4-FFF2-40B4-BE49-F238E27FC236}">
                <a16:creationId xmlns:a16="http://schemas.microsoft.com/office/drawing/2014/main" xmlns="" id="{1F138903-FB8B-4CD1-A955-A57762F212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428247" y="3284984"/>
            <a:ext cx="1532839" cy="1377485"/>
          </a:xfrm>
          <a:prstGeom prst="rect">
            <a:avLst/>
          </a:prstGeom>
          <a:noFill/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xmlns="" id="{6ABAEAD3-03D5-47B0-897D-43D9FFEE5378}"/>
              </a:ext>
            </a:extLst>
          </p:cNvPr>
          <p:cNvSpPr txBox="1"/>
          <p:nvPr/>
        </p:nvSpPr>
        <p:spPr>
          <a:xfrm>
            <a:off x="1691680" y="3933056"/>
            <a:ext cx="2304256" cy="531201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xmlns="" id="{A334EFA7-58A9-4E09-A2F7-DC1D6C3D3F76}"/>
              </a:ext>
            </a:extLst>
          </p:cNvPr>
          <p:cNvSpPr txBox="1"/>
          <p:nvPr/>
        </p:nvSpPr>
        <p:spPr>
          <a:xfrm>
            <a:off x="726530" y="4149080"/>
            <a:ext cx="2405310" cy="43204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</a:pPr>
            <a:r>
              <a:rPr lang="nl-NL" dirty="0">
                <a:latin typeface="Cambria" panose="02040503050406030204" pitchFamily="18" charset="0"/>
              </a:rPr>
              <a:t>Bij extreme verslaving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xmlns="" id="{C44DD6B8-03A4-4F15-B521-50FEC0DF16FC}"/>
              </a:ext>
            </a:extLst>
          </p:cNvPr>
          <p:cNvSpPr txBox="1"/>
          <p:nvPr/>
        </p:nvSpPr>
        <p:spPr>
          <a:xfrm>
            <a:off x="6372200" y="4149080"/>
            <a:ext cx="2232248" cy="43204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dirty="0">
                <a:latin typeface="Cambria" panose="02040503050406030204" pitchFamily="18" charset="0"/>
              </a:rPr>
              <a:t>Depressie</a:t>
            </a:r>
            <a:endParaRPr lang="nl-NL" sz="1800" dirty="0">
              <a:latin typeface="Cambria" panose="02040503050406030204" pitchFamily="18" charset="0"/>
            </a:endParaRP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xmlns="" id="{7F82C1C6-2703-4F7B-AF85-B983BBB1C0DB}"/>
              </a:ext>
            </a:extLst>
          </p:cNvPr>
          <p:cNvSpPr txBox="1"/>
          <p:nvPr/>
        </p:nvSpPr>
        <p:spPr>
          <a:xfrm>
            <a:off x="5144992" y="2043418"/>
            <a:ext cx="2235320" cy="936104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</a:pPr>
            <a:r>
              <a:rPr lang="nl-NL" dirty="0">
                <a:latin typeface="Cambria" panose="02040503050406030204" pitchFamily="18" charset="0"/>
              </a:rPr>
              <a:t>ON/OFF klachten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</a:pPr>
            <a:r>
              <a:rPr lang="nl-NL" dirty="0">
                <a:latin typeface="Cambria" panose="02040503050406030204" pitchFamily="18" charset="0"/>
              </a:rPr>
              <a:t>END OFF klachten 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xmlns="" id="{210C970C-E481-4FE4-BBB8-AA6CEF804575}"/>
              </a:ext>
            </a:extLst>
          </p:cNvPr>
          <p:cNvSpPr txBox="1"/>
          <p:nvPr/>
        </p:nvSpPr>
        <p:spPr>
          <a:xfrm>
            <a:off x="971600" y="5949280"/>
            <a:ext cx="7309320" cy="288032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xmlns="" id="{91118D6B-3CD7-41DA-8804-F16A44C7291D}"/>
              </a:ext>
            </a:extLst>
          </p:cNvPr>
          <p:cNvSpPr txBox="1"/>
          <p:nvPr/>
        </p:nvSpPr>
        <p:spPr>
          <a:xfrm>
            <a:off x="-128845" y="5949279"/>
            <a:ext cx="8409765" cy="531201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</a:pPr>
            <a:r>
              <a:rPr lang="nl-NL" dirty="0">
                <a:latin typeface="Cambria" panose="02040503050406030204" pitchFamily="18" charset="0"/>
              </a:rPr>
              <a:t>	Bij behandeling van de depressie kan verergering van de andere klachten optreden en andersom</a:t>
            </a:r>
            <a:endParaRPr lang="nl-NL" sz="1800" dirty="0">
              <a:solidFill>
                <a:schemeClr val="tx2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1495702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xmlns="" id="{CFE98EA6-14EA-4A66-B00A-740E58E3D36C}"/>
              </a:ext>
            </a:extLst>
          </p:cNvPr>
          <p:cNvSpPr txBox="1"/>
          <p:nvPr/>
        </p:nvSpPr>
        <p:spPr>
          <a:xfrm>
            <a:off x="179512" y="908720"/>
            <a:ext cx="8064896" cy="4896544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2800" dirty="0">
                <a:solidFill>
                  <a:srgbClr val="002060"/>
                </a:solidFill>
                <a:latin typeface="Cambria" panose="02040503050406030204" pitchFamily="18" charset="0"/>
              </a:rPr>
              <a:t>Bijwerkingen Medicijnen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2400" dirty="0">
                <a:solidFill>
                  <a:srgbClr val="339933"/>
                </a:solidFill>
                <a:latin typeface="Cambria" panose="02040503050406030204" pitchFamily="18" charset="0"/>
              </a:rPr>
              <a:t>		Medicijnen hebben </a:t>
            </a:r>
            <a:r>
              <a:rPr lang="nl-NL" sz="2400" dirty="0" smtClean="0">
                <a:solidFill>
                  <a:srgbClr val="339933"/>
                </a:solidFill>
                <a:latin typeface="Cambria" panose="02040503050406030204" pitchFamily="18" charset="0"/>
              </a:rPr>
              <a:t>vele </a:t>
            </a:r>
            <a:r>
              <a:rPr lang="nl-NL" sz="2400" dirty="0">
                <a:solidFill>
                  <a:srgbClr val="339933"/>
                </a:solidFill>
                <a:latin typeface="Cambria" panose="02040503050406030204" pitchFamily="18" charset="0"/>
              </a:rPr>
              <a:t>werkingen en sommige zijn 	ongewenst. Dit noemen wij bijwerkingen. 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2800" dirty="0" smtClean="0">
              <a:solidFill>
                <a:srgbClr val="002060"/>
              </a:solidFill>
              <a:latin typeface="Cambria" panose="02040503050406030204" pitchFamily="18" charset="0"/>
            </a:endParaRP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2800" dirty="0" smtClean="0">
                <a:solidFill>
                  <a:srgbClr val="002060"/>
                </a:solidFill>
                <a:latin typeface="Cambria" panose="02040503050406030204" pitchFamily="18" charset="0"/>
              </a:rPr>
              <a:t>BAT</a:t>
            </a:r>
            <a:endParaRPr lang="nl-NL" sz="2800" dirty="0">
              <a:solidFill>
                <a:srgbClr val="002060"/>
              </a:solidFill>
              <a:latin typeface="Cambria" panose="02040503050406030204" pitchFamily="18" charset="0"/>
            </a:endParaRPr>
          </a:p>
          <a:p>
            <a:pPr lvl="1"/>
            <a:r>
              <a:rPr lang="nl-NL" sz="2400" b="1" dirty="0" smtClean="0">
                <a:solidFill>
                  <a:srgbClr val="339933"/>
                </a:solidFill>
                <a:latin typeface="Cambria" panose="02040503050406030204" pitchFamily="18" charset="0"/>
              </a:rPr>
              <a:t>B</a:t>
            </a:r>
            <a:r>
              <a:rPr lang="nl-NL" sz="2400" dirty="0" smtClean="0">
                <a:solidFill>
                  <a:srgbClr val="339933"/>
                </a:solidFill>
                <a:latin typeface="Cambria" panose="02040503050406030204" pitchFamily="18" charset="0"/>
              </a:rPr>
              <a:t>ekende bijwerking?</a:t>
            </a:r>
            <a:endParaRPr lang="nl-NL" sz="2400" dirty="0">
              <a:solidFill>
                <a:srgbClr val="339933"/>
              </a:solidFill>
              <a:latin typeface="Cambria" panose="02040503050406030204" pitchFamily="18" charset="0"/>
            </a:endParaRPr>
          </a:p>
          <a:p>
            <a:pPr lvl="1"/>
            <a:r>
              <a:rPr lang="nl-NL" sz="2400" b="1" dirty="0" smtClean="0">
                <a:solidFill>
                  <a:srgbClr val="339933"/>
                </a:solidFill>
                <a:latin typeface="Cambria" panose="02040503050406030204" pitchFamily="18" charset="0"/>
              </a:rPr>
              <a:t>A</a:t>
            </a:r>
            <a:r>
              <a:rPr lang="nl-NL" sz="2400" dirty="0" smtClean="0">
                <a:solidFill>
                  <a:srgbClr val="339933"/>
                </a:solidFill>
                <a:latin typeface="Cambria" panose="02040503050406030204" pitchFamily="18" charset="0"/>
              </a:rPr>
              <a:t>lternatieve </a:t>
            </a:r>
            <a:r>
              <a:rPr lang="nl-NL" sz="2400" dirty="0">
                <a:solidFill>
                  <a:srgbClr val="339933"/>
                </a:solidFill>
                <a:latin typeface="Cambria" panose="02040503050406030204" pitchFamily="18" charset="0"/>
              </a:rPr>
              <a:t>verklaringen er zijn voor de klacht(en</a:t>
            </a:r>
            <a:r>
              <a:rPr lang="nl-NL" sz="2400" dirty="0" smtClean="0">
                <a:solidFill>
                  <a:srgbClr val="339933"/>
                </a:solidFill>
                <a:latin typeface="Cambria" panose="02040503050406030204" pitchFamily="18" charset="0"/>
              </a:rPr>
              <a:t>)? </a:t>
            </a:r>
            <a:r>
              <a:rPr lang="nl-NL" sz="2400" b="1" dirty="0" smtClean="0">
                <a:solidFill>
                  <a:srgbClr val="339933"/>
                </a:solidFill>
                <a:latin typeface="Cambria" panose="02040503050406030204" pitchFamily="18" charset="0"/>
              </a:rPr>
              <a:t>T</a:t>
            </a:r>
            <a:r>
              <a:rPr lang="nl-NL" sz="2400" dirty="0" smtClean="0">
                <a:solidFill>
                  <a:srgbClr val="339933"/>
                </a:solidFill>
                <a:latin typeface="Cambria" panose="02040503050406030204" pitchFamily="18" charset="0"/>
              </a:rPr>
              <a:t>ijdsrelatie is</a:t>
            </a:r>
          </a:p>
          <a:p>
            <a:pPr lvl="1"/>
            <a:endParaRPr lang="nl-NL" sz="2400" dirty="0">
              <a:solidFill>
                <a:srgbClr val="339933"/>
              </a:solidFill>
              <a:latin typeface="Cambria" panose="02040503050406030204" pitchFamily="18" charset="0"/>
            </a:endParaRPr>
          </a:p>
          <a:p>
            <a:pPr lvl="1"/>
            <a:r>
              <a:rPr lang="nl-NL" sz="2400" dirty="0">
                <a:solidFill>
                  <a:srgbClr val="339933"/>
                </a:solidFill>
                <a:latin typeface="Cambria" panose="02040503050406030204" pitchFamily="18" charset="0"/>
              </a:rPr>
              <a:t>Heel belangrijk is te realiseren hoe vaak de bijwerking </a:t>
            </a:r>
            <a:r>
              <a:rPr lang="nl-NL" sz="2400" dirty="0" smtClean="0">
                <a:solidFill>
                  <a:srgbClr val="339933"/>
                </a:solidFill>
                <a:latin typeface="Cambria" panose="02040503050406030204" pitchFamily="18" charset="0"/>
              </a:rPr>
              <a:t>voorkomt. Het optreden van een bijwerking is in te delen in: soms</a:t>
            </a:r>
            <a:r>
              <a:rPr lang="nl-NL" sz="2400" dirty="0">
                <a:solidFill>
                  <a:srgbClr val="339933"/>
                </a:solidFill>
                <a:latin typeface="Cambria" panose="02040503050406030204" pitchFamily="18" charset="0"/>
              </a:rPr>
              <a:t>, </a:t>
            </a:r>
            <a:r>
              <a:rPr lang="nl-NL" sz="2400" dirty="0" smtClean="0">
                <a:solidFill>
                  <a:srgbClr val="339933"/>
                </a:solidFill>
                <a:latin typeface="Cambria" panose="02040503050406030204" pitchFamily="18" charset="0"/>
              </a:rPr>
              <a:t>vaak, of </a:t>
            </a:r>
            <a:r>
              <a:rPr lang="nl-NL" sz="2400" dirty="0">
                <a:solidFill>
                  <a:srgbClr val="339933"/>
                </a:solidFill>
                <a:latin typeface="Cambria" panose="02040503050406030204" pitchFamily="18" charset="0"/>
              </a:rPr>
              <a:t>heel vaak. </a:t>
            </a:r>
            <a:endParaRPr lang="nl-NL" sz="2400" dirty="0" smtClean="0">
              <a:solidFill>
                <a:srgbClr val="339933"/>
              </a:solidFill>
              <a:latin typeface="Cambria" panose="02040503050406030204" pitchFamily="18" charset="0"/>
            </a:endParaRPr>
          </a:p>
          <a:p>
            <a:pPr lvl="1"/>
            <a:r>
              <a:rPr lang="nl-NL" sz="2400" dirty="0" smtClean="0">
                <a:solidFill>
                  <a:srgbClr val="339933"/>
                </a:solidFill>
                <a:latin typeface="Cambria" panose="02040503050406030204" pitchFamily="18" charset="0"/>
              </a:rPr>
              <a:t>De </a:t>
            </a:r>
            <a:r>
              <a:rPr lang="nl-NL" sz="2400" dirty="0">
                <a:solidFill>
                  <a:srgbClr val="339933"/>
                </a:solidFill>
                <a:latin typeface="Cambria" panose="02040503050406030204" pitchFamily="18" charset="0"/>
              </a:rPr>
              <a:t>ernst van de bijwerking is dan de gewichtsfactor.</a:t>
            </a:r>
          </a:p>
          <a:p>
            <a:pPr lvl="1"/>
            <a:endParaRPr lang="nl-NL" sz="2800" dirty="0"/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2800" dirty="0">
              <a:solidFill>
                <a:srgbClr val="00266E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935311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xmlns="" id="{199E7530-FA71-448C-8648-38E4077E7EE3}"/>
              </a:ext>
            </a:extLst>
          </p:cNvPr>
          <p:cNvSpPr txBox="1"/>
          <p:nvPr/>
        </p:nvSpPr>
        <p:spPr>
          <a:xfrm>
            <a:off x="467544" y="908720"/>
            <a:ext cx="7920880" cy="576064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2800" dirty="0">
                <a:solidFill>
                  <a:srgbClr val="00266E"/>
                </a:solidFill>
                <a:latin typeface="Cambria" panose="02040503050406030204" pitchFamily="18" charset="0"/>
              </a:rPr>
              <a:t>BEKENDE BIJWERKINGEN VAN LEVO DOPA ZIJN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xmlns="" id="{7E2B0E1C-3601-4A21-9342-DC267D04F393}"/>
              </a:ext>
            </a:extLst>
          </p:cNvPr>
          <p:cNvSpPr txBox="1"/>
          <p:nvPr/>
        </p:nvSpPr>
        <p:spPr>
          <a:xfrm>
            <a:off x="467544" y="1628800"/>
            <a:ext cx="8424936" cy="475252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xmlns="" id="{7B8351C7-72C2-4BF5-8F50-63871A98D5FA}"/>
              </a:ext>
            </a:extLst>
          </p:cNvPr>
          <p:cNvSpPr txBox="1"/>
          <p:nvPr/>
        </p:nvSpPr>
        <p:spPr>
          <a:xfrm>
            <a:off x="467544" y="2564904"/>
            <a:ext cx="7776864" cy="3456384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xmlns="" id="{B7D6878E-2D5B-444F-B6E1-854D256D4BBF}"/>
              </a:ext>
            </a:extLst>
          </p:cNvPr>
          <p:cNvSpPr txBox="1"/>
          <p:nvPr/>
        </p:nvSpPr>
        <p:spPr>
          <a:xfrm>
            <a:off x="323528" y="1628800"/>
            <a:ext cx="8064896" cy="4896544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1600" dirty="0">
                <a:latin typeface="Cambria" panose="02040503050406030204" pitchFamily="18" charset="0"/>
              </a:rPr>
              <a:t>	</a:t>
            </a:r>
            <a:r>
              <a:rPr lang="nl-NL" sz="1600" dirty="0">
                <a:solidFill>
                  <a:srgbClr val="002060"/>
                </a:solidFill>
                <a:latin typeface="Cambria" panose="02040503050406030204" pitchFamily="18" charset="0"/>
              </a:rPr>
              <a:t>Zeer) vaak (&gt; 1%): anorexie; hoofdpijn, paresthesie( storing van sensibiliteit jeuk en kriebelingen), spierkrampen, psychische stoornissen zoals hallucinatie, verwardheid, slaperigheid overdag, plotselinge slaapaanvallen, duizeligheid, nachtmerrie, slapeloosheid en depressie (zeer zeldzame zelfmoordpoging); pijn op de borst, asthenie(krachteloosheid), hartkloppingen, orthostatische hypotensie (m.n. in de beginperiode); dyspneu. </a:t>
            </a:r>
            <a:r>
              <a:rPr lang="nl-NL" sz="1600" dirty="0" err="1">
                <a:solidFill>
                  <a:srgbClr val="002060"/>
                </a:solidFill>
                <a:latin typeface="Cambria" panose="02040503050406030204" pitchFamily="18" charset="0"/>
              </a:rPr>
              <a:t>Maag-darmstoornissen</a:t>
            </a:r>
            <a:r>
              <a:rPr lang="nl-NL" sz="1600" dirty="0">
                <a:solidFill>
                  <a:srgbClr val="002060"/>
                </a:solidFill>
                <a:latin typeface="Cambria" panose="02040503050406030204" pitchFamily="18" charset="0"/>
              </a:rPr>
              <a:t> (misselijkheid, braken, diarree, obstipatie, droge mond, dyspepsie.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600" dirty="0">
              <a:solidFill>
                <a:srgbClr val="002060"/>
              </a:solidFill>
              <a:latin typeface="Cambria" panose="02040503050406030204" pitchFamily="18" charset="0"/>
            </a:endParaRP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1600" dirty="0">
                <a:solidFill>
                  <a:srgbClr val="002060"/>
                </a:solidFill>
                <a:latin typeface="Cambria" panose="02040503050406030204" pitchFamily="18" charset="0"/>
              </a:rPr>
              <a:t>	Soms (0,1–1%): syncope(plotseling verlies van kracht), extrapiramidale aandoening, gastro-intestinale pijn, urticaria, afwijkingen in het lopen, gewichtsverlies. Vallen.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1600" dirty="0">
                <a:solidFill>
                  <a:srgbClr val="002060"/>
                </a:solidFill>
                <a:latin typeface="Cambria" panose="02040503050406030204" pitchFamily="18" charset="0"/>
              </a:rPr>
              <a:t>	Zelden (0,01–0,1%): oogaandoeningen als wazig zien, overmatig blozen, psychotische episode. Haaruitval, jeuk, angio–oedeem. </a:t>
            </a:r>
            <a:r>
              <a:rPr lang="nl-NL" sz="1600" dirty="0" err="1">
                <a:solidFill>
                  <a:srgbClr val="002060"/>
                </a:solidFill>
                <a:latin typeface="Cambria" panose="02040503050406030204" pitchFamily="18" charset="0"/>
              </a:rPr>
              <a:t>Neuroleptisch</a:t>
            </a:r>
            <a:r>
              <a:rPr lang="nl-NL" sz="1600" dirty="0">
                <a:solidFill>
                  <a:srgbClr val="002060"/>
                </a:solidFill>
                <a:latin typeface="Cambria" panose="02040503050406030204" pitchFamily="18" charset="0"/>
              </a:rPr>
              <a:t> maligne syndroom. Het donker worden van zweet, urine en speeksel.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1600" dirty="0">
                <a:solidFill>
                  <a:srgbClr val="002060"/>
                </a:solidFill>
                <a:latin typeface="Cambria" panose="02040503050406030204" pitchFamily="18" charset="0"/>
              </a:rPr>
              <a:t>	Verder: stoornis in de impulsbeheersing (dwangmatig gokgedrag, toegenomen libido, hyperseksualiteit, compulsief koopgedrag, compulsief eetgedrag), euforie, tandenknarsen. Dementie, bittere smaak, ataxie, activering van het Horner-syndroom, gevoelsverlies, convulsies. diplopie, verwijde pupillen, oculogyrische crises. Leukopenie, trombocytopenie, (hemolytische) anemie, agranulocytose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600" dirty="0">
              <a:latin typeface="Cambria" panose="02040503050406030204" pitchFamily="18" charset="0"/>
            </a:endParaRP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13888391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xmlns="" id="{892E75F3-A451-4D45-AF55-31D42C807AFF}"/>
              </a:ext>
            </a:extLst>
          </p:cNvPr>
          <p:cNvSpPr txBox="1"/>
          <p:nvPr/>
        </p:nvSpPr>
        <p:spPr>
          <a:xfrm>
            <a:off x="611560" y="1124744"/>
            <a:ext cx="6336704" cy="91440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solidFill>
                <a:srgbClr val="00266E"/>
              </a:solidFill>
              <a:latin typeface="Ubuntu"/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xmlns="" id="{81BBC809-B272-437A-9B39-850F23F1935D}"/>
              </a:ext>
            </a:extLst>
          </p:cNvPr>
          <p:cNvSpPr txBox="1"/>
          <p:nvPr/>
        </p:nvSpPr>
        <p:spPr>
          <a:xfrm>
            <a:off x="323528" y="1340768"/>
            <a:ext cx="8136904" cy="43204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2800" dirty="0">
                <a:latin typeface="Ubuntu"/>
              </a:rPr>
              <a:t>Bekende bijwerkingen van Dopamine </a:t>
            </a:r>
            <a:r>
              <a:rPr lang="nl-NL" sz="2800" dirty="0" smtClean="0">
                <a:latin typeface="Ubuntu"/>
              </a:rPr>
              <a:t>Agonisten</a:t>
            </a:r>
            <a:endParaRPr lang="nl-NL" sz="2000" dirty="0">
              <a:latin typeface="Ubuntu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xmlns="" id="{510C3515-215B-4E2E-B308-AC824967C3BE}"/>
              </a:ext>
            </a:extLst>
          </p:cNvPr>
          <p:cNvSpPr txBox="1"/>
          <p:nvPr/>
        </p:nvSpPr>
        <p:spPr>
          <a:xfrm>
            <a:off x="611560" y="2040217"/>
            <a:ext cx="6696744" cy="2880320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dirty="0">
                <a:latin typeface="Cambria" panose="02040503050406030204" pitchFamily="18" charset="0"/>
              </a:rPr>
              <a:t>Gastro-intestinaal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dirty="0" err="1">
                <a:latin typeface="Cambria" panose="02040503050406030204" pitchFamily="18" charset="0"/>
              </a:rPr>
              <a:t>Orthostase</a:t>
            </a:r>
            <a:r>
              <a:rPr lang="nl-NL" dirty="0">
                <a:latin typeface="Cambria" panose="02040503050406030204" pitchFamily="18" charset="0"/>
              </a:rPr>
              <a:t> (Bloeddrukdaling bij het rechtop gaan zitten of staan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dirty="0">
                <a:latin typeface="Cambria" panose="02040503050406030204" pitchFamily="18" charset="0"/>
              </a:rPr>
              <a:t>Psychose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dirty="0">
                <a:latin typeface="Cambria" panose="02040503050406030204" pitchFamily="18" charset="0"/>
              </a:rPr>
              <a:t>Somnolentie(slaperigheid)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dirty="0">
                <a:latin typeface="Cambria" panose="02040503050406030204" pitchFamily="18" charset="0"/>
              </a:rPr>
              <a:t>Verslavingsgedrag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dirty="0">
                <a:latin typeface="Cambria" panose="02040503050406030204" pitchFamily="18" charset="0"/>
              </a:rPr>
              <a:t>Minder effectief vs. L-</a:t>
            </a:r>
            <a:r>
              <a:rPr lang="nl-NL" dirty="0" err="1">
                <a:latin typeface="Cambria" panose="02040503050406030204" pitchFamily="18" charset="0"/>
              </a:rPr>
              <a:t>dopa</a:t>
            </a:r>
            <a:r>
              <a:rPr lang="nl-NL" dirty="0">
                <a:latin typeface="Cambria" panose="02040503050406030204" pitchFamily="18" charset="0"/>
              </a:rPr>
              <a:t>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dirty="0">
                <a:latin typeface="Cambria" panose="02040503050406030204" pitchFamily="18" charset="0"/>
              </a:rPr>
              <a:t>Korte duur als monotherapie </a:t>
            </a:r>
          </a:p>
        </p:txBody>
      </p:sp>
    </p:spTree>
    <p:extLst>
      <p:ext uri="{BB962C8B-B14F-4D97-AF65-F5344CB8AC3E}">
        <p14:creationId xmlns:p14="http://schemas.microsoft.com/office/powerpoint/2010/main" val="1807629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xmlns="" id="{8AD761D9-3CDC-4E9E-B88C-07076D4C5E9A}"/>
              </a:ext>
            </a:extLst>
          </p:cNvPr>
          <p:cNvSpPr txBox="1"/>
          <p:nvPr/>
        </p:nvSpPr>
        <p:spPr>
          <a:xfrm>
            <a:off x="611560" y="1772816"/>
            <a:ext cx="7056784" cy="475252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 smtClean="0">
                <a:solidFill>
                  <a:srgbClr val="1D3175"/>
                </a:solidFill>
                <a:latin typeface="Cambria" panose="02040503050406030204" pitchFamily="18" charset="0"/>
              </a:rPr>
              <a:t>Het</a:t>
            </a:r>
            <a:r>
              <a:rPr lang="nl-NL" dirty="0" smtClean="0">
                <a:solidFill>
                  <a:schemeClr val="accent6"/>
                </a:solidFill>
                <a:latin typeface="Cambria" panose="02040503050406030204" pitchFamily="18" charset="0"/>
              </a:rPr>
              <a:t> </a:t>
            </a:r>
            <a:r>
              <a:rPr lang="nl-NL" b="1" u="sng" dirty="0" smtClean="0">
                <a:solidFill>
                  <a:schemeClr val="accent6"/>
                </a:solidFill>
                <a:latin typeface="Cambria" panose="02040503050406030204" pitchFamily="18" charset="0"/>
              </a:rPr>
              <a:t>preferentiebeleid</a:t>
            </a:r>
            <a:r>
              <a:rPr lang="nl-NL" dirty="0" smtClean="0">
                <a:solidFill>
                  <a:schemeClr val="tx2"/>
                </a:solidFill>
                <a:latin typeface="Cambria" panose="02040503050406030204" pitchFamily="18" charset="0"/>
              </a:rPr>
              <a:t> </a:t>
            </a:r>
            <a:r>
              <a:rPr lang="nl-NL" dirty="0">
                <a:latin typeface="Cambria" panose="02040503050406030204" pitchFamily="18" charset="0"/>
              </a:rPr>
              <a:t>van zorgverzekeraars heeft effect op verstrekkingen van Parkinson medicatie in </a:t>
            </a:r>
            <a:r>
              <a:rPr lang="nl-NL" dirty="0" smtClean="0">
                <a:latin typeface="Cambria" panose="02040503050406030204" pitchFamily="18" charset="0"/>
              </a:rPr>
              <a:t>Nederland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nl-NL" b="1" u="sng" dirty="0">
              <a:solidFill>
                <a:srgbClr val="1D3175"/>
              </a:solidFill>
              <a:latin typeface="Cambria" panose="02040503050406030204" pitchFamily="18" charset="0"/>
            </a:endParaRPr>
          </a:p>
          <a:p>
            <a:pPr marL="342900" indent="-342900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>
                <a:solidFill>
                  <a:srgbClr val="1D3175"/>
                </a:solidFill>
                <a:latin typeface="Cambria" panose="02040503050406030204" pitchFamily="18" charset="0"/>
              </a:rPr>
              <a:t>De </a:t>
            </a:r>
            <a:r>
              <a:rPr lang="nl-NL" b="1" u="sng" dirty="0">
                <a:solidFill>
                  <a:schemeClr val="accent6"/>
                </a:solidFill>
                <a:latin typeface="Cambria" panose="02040503050406030204" pitchFamily="18" charset="0"/>
              </a:rPr>
              <a:t>inkoop</a:t>
            </a:r>
            <a:r>
              <a:rPr lang="nl-NL" dirty="0">
                <a:solidFill>
                  <a:schemeClr val="tx2"/>
                </a:solidFill>
                <a:latin typeface="Cambria" panose="02040503050406030204" pitchFamily="18" charset="0"/>
              </a:rPr>
              <a:t> </a:t>
            </a:r>
            <a:r>
              <a:rPr lang="nl-NL" dirty="0">
                <a:latin typeface="Cambria" panose="02040503050406030204" pitchFamily="18" charset="0"/>
              </a:rPr>
              <a:t>door zorgverzekeraars; </a:t>
            </a:r>
            <a:r>
              <a:rPr lang="nl-NL" b="1" u="sng" dirty="0">
                <a:solidFill>
                  <a:schemeClr val="accent6"/>
                </a:solidFill>
                <a:latin typeface="Cambria" panose="02040503050406030204" pitchFamily="18" charset="0"/>
              </a:rPr>
              <a:t>dropjes prijzen</a:t>
            </a:r>
            <a:r>
              <a:rPr lang="nl-NL" dirty="0">
                <a:solidFill>
                  <a:schemeClr val="accent6"/>
                </a:solidFill>
                <a:latin typeface="Cambria" panose="02040503050406030204" pitchFamily="18" charset="0"/>
              </a:rPr>
              <a:t> </a:t>
            </a:r>
            <a:r>
              <a:rPr lang="nl-NL" dirty="0">
                <a:latin typeface="Cambria" panose="02040503050406030204" pitchFamily="18" charset="0"/>
              </a:rPr>
              <a:t>van medicatie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nl-NL" dirty="0">
              <a:latin typeface="Cambria" panose="02040503050406030204" pitchFamily="18" charset="0"/>
            </a:endParaRPr>
          </a:p>
          <a:p>
            <a:pPr marL="342900" indent="-342900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>
                <a:latin typeface="Cambria" panose="02040503050406030204" pitchFamily="18" charset="0"/>
              </a:rPr>
              <a:t>Uitleg preferentie en </a:t>
            </a:r>
            <a:r>
              <a:rPr lang="nl-NL" b="1" u="sng" dirty="0" smtClean="0">
                <a:solidFill>
                  <a:srgbClr val="339933"/>
                </a:solidFill>
                <a:latin typeface="Cambria" panose="02040503050406030204" pitchFamily="18" charset="0"/>
              </a:rPr>
              <a:t>pakjes model</a:t>
            </a:r>
            <a:r>
              <a:rPr lang="nl-NL" dirty="0" smtClean="0">
                <a:latin typeface="Cambria" panose="02040503050406030204" pitchFamily="18" charset="0"/>
              </a:rPr>
              <a:t>.</a:t>
            </a:r>
            <a:endParaRPr lang="nl-NL" dirty="0">
              <a:latin typeface="Cambria" panose="02040503050406030204" pitchFamily="18" charset="0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nl-NL" dirty="0" smtClean="0">
              <a:latin typeface="Cambria" panose="02040503050406030204" pitchFamily="18" charset="0"/>
            </a:endParaRPr>
          </a:p>
          <a:p>
            <a:pPr marL="285750" indent="-285750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 smtClean="0">
                <a:latin typeface="Cambria" panose="02040503050406030204" pitchFamily="18" charset="0"/>
              </a:rPr>
              <a:t>60 </a:t>
            </a:r>
            <a:r>
              <a:rPr lang="nl-NL" dirty="0">
                <a:latin typeface="Cambria" panose="02040503050406030204" pitchFamily="18" charset="0"/>
              </a:rPr>
              <a:t>% prijsdaling als oorzaak </a:t>
            </a:r>
            <a:r>
              <a:rPr lang="nl-NL" b="1" u="sng" dirty="0">
                <a:solidFill>
                  <a:srgbClr val="339933"/>
                </a:solidFill>
                <a:latin typeface="Cambria" panose="02040503050406030204" pitchFamily="18" charset="0"/>
              </a:rPr>
              <a:t>uitleg.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nl-NL" dirty="0">
              <a:latin typeface="Cambria" panose="02040503050406030204" pitchFamily="18" charset="0"/>
            </a:endParaRPr>
          </a:p>
          <a:p>
            <a:pPr marL="342900" indent="-342900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>
                <a:latin typeface="Cambria" panose="02040503050406030204" pitchFamily="18" charset="0"/>
              </a:rPr>
              <a:t>Continue leveringsproblemen van medicatie in Nederland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nl-NL" b="1" u="sng" dirty="0">
              <a:solidFill>
                <a:srgbClr val="339933"/>
              </a:solidFill>
              <a:latin typeface="Cambria" panose="02040503050406030204" pitchFamily="18" charset="0"/>
            </a:endParaRPr>
          </a:p>
          <a:p>
            <a:pPr marL="342900" indent="-342900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>
                <a:latin typeface="Cambria" panose="02040503050406030204" pitchFamily="18" charset="0"/>
              </a:rPr>
              <a:t>Consequenties voor patiënten en uitleg medische noodzaak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nl-NL" dirty="0">
              <a:latin typeface="Cambria" panose="02040503050406030204" pitchFamily="18" charset="0"/>
            </a:endParaRPr>
          </a:p>
          <a:p>
            <a:pPr marL="342900" indent="-342900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nl-NL" dirty="0">
                <a:latin typeface="Cambria" panose="02040503050406030204" pitchFamily="18" charset="0"/>
              </a:rPr>
              <a:t>Substitutie reglement voor Parkinson middelen </a:t>
            </a:r>
            <a:r>
              <a:rPr lang="nl-NL" b="1" u="sng" dirty="0">
                <a:solidFill>
                  <a:srgbClr val="339933"/>
                </a:solidFill>
                <a:latin typeface="Cambria" panose="02040503050406030204" pitchFamily="18" charset="0"/>
              </a:rPr>
              <a:t>uitleg</a:t>
            </a: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b="1" u="sng" dirty="0">
              <a:solidFill>
                <a:srgbClr val="339933"/>
              </a:solidFill>
              <a:latin typeface="Ubuntu"/>
            </a:endParaRP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</a:pPr>
            <a:endParaRPr lang="nl-NL" dirty="0">
              <a:latin typeface="Ubuntu"/>
            </a:endParaRPr>
          </a:p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endParaRPr lang="nl-NL" sz="1800" dirty="0">
              <a:latin typeface="Ubuntu"/>
            </a:endParaRP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xmlns="" id="{81BBC809-B272-437A-9B39-850F23F1935D}"/>
              </a:ext>
            </a:extLst>
          </p:cNvPr>
          <p:cNvSpPr txBox="1"/>
          <p:nvPr/>
        </p:nvSpPr>
        <p:spPr>
          <a:xfrm>
            <a:off x="323528" y="980728"/>
            <a:ext cx="8136904" cy="43204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 marL="342900" indent="-342900" defTabSz="457200" fontAlgn="auto">
              <a:spcBef>
                <a:spcPct val="20000"/>
              </a:spcBef>
              <a:spcAft>
                <a:spcPts val="0"/>
              </a:spcAft>
              <a:buFont typeface="Arial"/>
              <a:buNone/>
            </a:pPr>
            <a:r>
              <a:rPr lang="nl-NL" sz="2800" dirty="0" smtClean="0">
                <a:latin typeface="Ubuntu"/>
              </a:rPr>
              <a:t>Beleid zorgverzekeraars </a:t>
            </a:r>
            <a:endParaRPr lang="nl-NL" sz="2000" dirty="0"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7629147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.GLuw3pUezv1zmjFrV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V60k2Y0qmViC6_e7_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M4Z_kfEK3Fc3bCJG9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d2bBfbV02pitYfyWEr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M4Z_kfEK3Fc3bCJG93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.GLuw3pUezv1zmjFrV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V60k2Y0qmViC6_e7_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d2bBfbV02pitYfyWEr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.j3XVl80W4m41K1sgi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BM4Z_kfEK3Fc3bCJG9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d2bBfbV02pitYfyWEr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J4EFDCEa80luAFOW3MA"/>
</p:tagLst>
</file>

<file path=ppt/theme/theme1.xml><?xml version="1.0" encoding="utf-8"?>
<a:theme xmlns:a="http://schemas.openxmlformats.org/drawingml/2006/main" name="1_Benutzerdefiniertes Design">
  <a:themeElements>
    <a:clrScheme name="Benutzerdefiniertes Design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6699FF"/>
      </a:accent1>
      <a:accent2>
        <a:srgbClr val="339933"/>
      </a:accent2>
      <a:accent3>
        <a:srgbClr val="FFFFFF"/>
      </a:accent3>
      <a:accent4>
        <a:srgbClr val="000000"/>
      </a:accent4>
      <a:accent5>
        <a:srgbClr val="B8CAFF"/>
      </a:accent5>
      <a:accent6>
        <a:srgbClr val="2D8A2D"/>
      </a:accent6>
      <a:hlink>
        <a:srgbClr val="FF3300"/>
      </a:hlink>
      <a:folHlink>
        <a:srgbClr val="C0C0C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7DFB4"/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rtlCol="0">
        <a:noAutofit/>
      </a:bodyPr>
      <a:lstStyle>
        <a:defPPr marL="342900" indent="-342900" defTabSz="457200" fontAlgn="auto">
          <a:spcBef>
            <a:spcPct val="20000"/>
          </a:spcBef>
          <a:spcAft>
            <a:spcPts val="0"/>
          </a:spcAft>
          <a:buFont typeface="Arial"/>
          <a:buNone/>
          <a:defRPr sz="1800" dirty="0" smtClean="0">
            <a:solidFill>
              <a:srgbClr val="00266E"/>
            </a:solidFill>
            <a:latin typeface="Ubuntu"/>
          </a:defRPr>
        </a:defPPr>
      </a:lstStyle>
    </a:tx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699FF"/>
        </a:accent1>
        <a:accent2>
          <a:srgbClr val="339933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2D8A2D"/>
        </a:accent6>
        <a:hlink>
          <a:srgbClr val="FF330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Benutzerdefiniertes Design">
  <a:themeElements>
    <a:clrScheme name="Benutzerdefiniertes Design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6699FF"/>
      </a:accent1>
      <a:accent2>
        <a:srgbClr val="339933"/>
      </a:accent2>
      <a:accent3>
        <a:srgbClr val="FFFFFF"/>
      </a:accent3>
      <a:accent4>
        <a:srgbClr val="000000"/>
      </a:accent4>
      <a:accent5>
        <a:srgbClr val="B8CAFF"/>
      </a:accent5>
      <a:accent6>
        <a:srgbClr val="2D8A2D"/>
      </a:accent6>
      <a:hlink>
        <a:srgbClr val="FF3300"/>
      </a:hlink>
      <a:folHlink>
        <a:srgbClr val="C0C0C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7DFB4"/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rtlCol="0">
        <a:noAutofit/>
      </a:bodyPr>
      <a:lstStyle>
        <a:defPPr marL="342900" indent="-342900" defTabSz="457200" fontAlgn="auto">
          <a:spcBef>
            <a:spcPct val="20000"/>
          </a:spcBef>
          <a:spcAft>
            <a:spcPts val="0"/>
          </a:spcAft>
          <a:buFont typeface="Arial"/>
          <a:buNone/>
          <a:defRPr sz="1800" dirty="0" smtClean="0">
            <a:solidFill>
              <a:srgbClr val="00266E"/>
            </a:solidFill>
            <a:latin typeface="Ubuntu"/>
          </a:defRPr>
        </a:defPPr>
      </a:lstStyle>
    </a:tx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699FF"/>
        </a:accent1>
        <a:accent2>
          <a:srgbClr val="339933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2D8A2D"/>
        </a:accent6>
        <a:hlink>
          <a:srgbClr val="FF330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enutzerdefiniertes Design">
  <a:themeElements>
    <a:clrScheme name="Benutzerdefiniertes Design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6699FF"/>
      </a:accent1>
      <a:accent2>
        <a:srgbClr val="339933"/>
      </a:accent2>
      <a:accent3>
        <a:srgbClr val="FFFFFF"/>
      </a:accent3>
      <a:accent4>
        <a:srgbClr val="000000"/>
      </a:accent4>
      <a:accent5>
        <a:srgbClr val="B8CAFF"/>
      </a:accent5>
      <a:accent6>
        <a:srgbClr val="2D8A2D"/>
      </a:accent6>
      <a:hlink>
        <a:srgbClr val="FF3300"/>
      </a:hlink>
      <a:folHlink>
        <a:srgbClr val="C0C0C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7DFB4"/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wrap="square" rtlCol="0">
        <a:noAutofit/>
      </a:bodyPr>
      <a:lstStyle>
        <a:defPPr marL="342900" indent="-342900" defTabSz="457200" fontAlgn="auto">
          <a:spcBef>
            <a:spcPct val="20000"/>
          </a:spcBef>
          <a:spcAft>
            <a:spcPts val="0"/>
          </a:spcAft>
          <a:buFont typeface="Arial"/>
          <a:buNone/>
          <a:defRPr sz="1800" dirty="0" smtClean="0">
            <a:solidFill>
              <a:srgbClr val="00266E"/>
            </a:solidFill>
            <a:latin typeface="Ubuntu"/>
          </a:defRPr>
        </a:defPPr>
      </a:lstStyle>
    </a:tx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699FF"/>
        </a:accent1>
        <a:accent2>
          <a:srgbClr val="339933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2D8A2D"/>
        </a:accent6>
        <a:hlink>
          <a:srgbClr val="FF330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81</TotalTime>
  <Words>595</Words>
  <Application>Microsoft Office PowerPoint</Application>
  <PresentationFormat>Diavoorstelling (4:3)</PresentationFormat>
  <Paragraphs>138</Paragraphs>
  <Slides>18</Slides>
  <Notes>0</Notes>
  <HiddenSlides>0</HiddenSlides>
  <MMClips>0</MMClips>
  <ScaleCrop>false</ScaleCrop>
  <HeadingPairs>
    <vt:vector size="6" baseType="variant"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8</vt:i4>
      </vt:variant>
    </vt:vector>
  </HeadingPairs>
  <TitlesOfParts>
    <vt:vector size="22" baseType="lpstr">
      <vt:lpstr>1_Benutzerdefiniertes Design</vt:lpstr>
      <vt:lpstr>2_Benutzerdefiniertes Design</vt:lpstr>
      <vt:lpstr>Benutzerdefiniertes Design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>LLOYDS Nederland B.V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i sessie  MT LLOYDS Apotheken</dc:title>
  <dc:creator>Marja van de Poll</dc:creator>
  <cp:lastModifiedBy>Jaap Dekker</cp:lastModifiedBy>
  <cp:revision>1678</cp:revision>
  <cp:lastPrinted>2016-05-20T08:12:34Z</cp:lastPrinted>
  <dcterms:created xsi:type="dcterms:W3CDTF">2008-07-21T15:09:30Z</dcterms:created>
  <dcterms:modified xsi:type="dcterms:W3CDTF">2020-02-06T13:11:09Z</dcterms:modified>
</cp:coreProperties>
</file>